
<file path=[Content_Types].xml><?xml version="1.0" encoding="utf-8"?>
<Types xmlns="http://schemas.openxmlformats.org/package/2006/content-types">
  <Default Extension="bin" ContentType="image/jpeg"/>
  <Default Extension="emf" ContentType="image/x-emf"/>
  <Default Extension="jfif"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notesSlides/notesSlide22.xml" ContentType="application/vnd.openxmlformats-officedocument.presentationml.notesSlide+xml"/>
  <Override PartName="/ppt/tags/tag28.xml" ContentType="application/vnd.openxmlformats-officedocument.presentationml.tags+xml"/>
  <Override PartName="/ppt/notesSlides/notesSlide2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5.xml" ContentType="application/vnd.openxmlformats-officedocument.presentationml.tags+xml"/>
  <Override PartName="/ppt/notesSlides/notesSlide3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38.xml" ContentType="application/vnd.openxmlformats-officedocument.presentationml.tags+xml"/>
  <Override PartName="/ppt/tags/tag39.xml" ContentType="application/vnd.openxmlformats-officedocument.presentationml.tags+xml"/>
  <Override PartName="/ppt/notesSlides/notesSlide3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40.xml" ContentType="application/vnd.openxmlformats-officedocument.presentationml.notesSlide+xml"/>
  <Override PartName="/ppt/tags/tag42.xml" ContentType="application/vnd.openxmlformats-officedocument.presentationml.tags+xml"/>
  <Override PartName="/ppt/notesSlides/notesSlide4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4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43.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7.xml" ContentType="application/vnd.openxmlformats-officedocument.presentationml.tags+xml"/>
  <Override PartName="/ppt/tags/tag48.xml" ContentType="application/vnd.openxmlformats-officedocument.presentationml.tags+xml"/>
  <Override PartName="/ppt/notesSlides/notesSlide44.xml" ContentType="application/vnd.openxmlformats-officedocument.presentationml.notesSlide+xml"/>
  <Override PartName="/ppt/tags/tag49.xml" ContentType="application/vnd.openxmlformats-officedocument.presentationml.tags+xml"/>
  <Override PartName="/ppt/notesSlides/notesSlide4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4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4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8"/>
  </p:sldMasterIdLst>
  <p:notesMasterIdLst>
    <p:notesMasterId r:id="rId88"/>
  </p:notesMasterIdLst>
  <p:handoutMasterIdLst>
    <p:handoutMasterId r:id="rId89"/>
  </p:handoutMasterIdLst>
  <p:sldIdLst>
    <p:sldId id="260" r:id="rId19"/>
    <p:sldId id="258" r:id="rId20"/>
    <p:sldId id="562" r:id="rId21"/>
    <p:sldId id="561" r:id="rId22"/>
    <p:sldId id="534" r:id="rId23"/>
    <p:sldId id="257" r:id="rId24"/>
    <p:sldId id="607" r:id="rId25"/>
    <p:sldId id="608" r:id="rId26"/>
    <p:sldId id="610" r:id="rId27"/>
    <p:sldId id="611" r:id="rId28"/>
    <p:sldId id="612" r:id="rId29"/>
    <p:sldId id="613" r:id="rId30"/>
    <p:sldId id="614" r:id="rId31"/>
    <p:sldId id="531" r:id="rId32"/>
    <p:sldId id="535" r:id="rId33"/>
    <p:sldId id="563" r:id="rId34"/>
    <p:sldId id="560" r:id="rId35"/>
    <p:sldId id="564" r:id="rId36"/>
    <p:sldId id="565" r:id="rId37"/>
    <p:sldId id="606" r:id="rId38"/>
    <p:sldId id="567" r:id="rId39"/>
    <p:sldId id="568" r:id="rId40"/>
    <p:sldId id="569" r:id="rId41"/>
    <p:sldId id="570" r:id="rId42"/>
    <p:sldId id="571" r:id="rId43"/>
    <p:sldId id="572" r:id="rId44"/>
    <p:sldId id="573" r:id="rId45"/>
    <p:sldId id="574" r:id="rId46"/>
    <p:sldId id="575" r:id="rId47"/>
    <p:sldId id="576" r:id="rId48"/>
    <p:sldId id="577" r:id="rId49"/>
    <p:sldId id="578" r:id="rId50"/>
    <p:sldId id="579" r:id="rId51"/>
    <p:sldId id="580" r:id="rId52"/>
    <p:sldId id="581" r:id="rId53"/>
    <p:sldId id="582" r:id="rId54"/>
    <p:sldId id="583" r:id="rId55"/>
    <p:sldId id="584" r:id="rId56"/>
    <p:sldId id="585" r:id="rId57"/>
    <p:sldId id="586" r:id="rId58"/>
    <p:sldId id="587" r:id="rId59"/>
    <p:sldId id="616" r:id="rId60"/>
    <p:sldId id="617" r:id="rId61"/>
    <p:sldId id="618" r:id="rId62"/>
    <p:sldId id="619" r:id="rId63"/>
    <p:sldId id="620" r:id="rId64"/>
    <p:sldId id="621" r:id="rId65"/>
    <p:sldId id="622" r:id="rId66"/>
    <p:sldId id="623" r:id="rId67"/>
    <p:sldId id="624" r:id="rId68"/>
    <p:sldId id="588" r:id="rId69"/>
    <p:sldId id="589" r:id="rId70"/>
    <p:sldId id="591" r:id="rId71"/>
    <p:sldId id="590" r:id="rId72"/>
    <p:sldId id="592" r:id="rId73"/>
    <p:sldId id="593" r:id="rId74"/>
    <p:sldId id="594" r:id="rId75"/>
    <p:sldId id="595" r:id="rId76"/>
    <p:sldId id="596" r:id="rId77"/>
    <p:sldId id="597" r:id="rId78"/>
    <p:sldId id="598" r:id="rId79"/>
    <p:sldId id="599" r:id="rId80"/>
    <p:sldId id="600" r:id="rId81"/>
    <p:sldId id="601" r:id="rId82"/>
    <p:sldId id="602" r:id="rId83"/>
    <p:sldId id="603" r:id="rId84"/>
    <p:sldId id="604" r:id="rId85"/>
    <p:sldId id="605" r:id="rId86"/>
    <p:sldId id="259" r:id="rId87"/>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1" id="{25ADF4C8-2200-4410-9F45-B05F5BA6D4E6}">
          <p14:sldIdLst>
            <p14:sldId id="561"/>
            <p14:sldId id="534"/>
            <p14:sldId id="257"/>
            <p14:sldId id="607"/>
            <p14:sldId id="608"/>
            <p14:sldId id="610"/>
            <p14:sldId id="611"/>
            <p14:sldId id="612"/>
            <p14:sldId id="613"/>
            <p14:sldId id="614"/>
            <p14:sldId id="531"/>
            <p14:sldId id="535"/>
            <p14:sldId id="563"/>
            <p14:sldId id="560"/>
          </p14:sldIdLst>
        </p14:section>
        <p14:section name="Lesson2" id="{6F639A05-2893-48A9-A600-6681E43668C4}">
          <p14:sldIdLst>
            <p14:sldId id="564"/>
            <p14:sldId id="565"/>
            <p14:sldId id="606"/>
            <p14:sldId id="567"/>
            <p14:sldId id="568"/>
            <p14:sldId id="569"/>
            <p14:sldId id="570"/>
          </p14:sldIdLst>
        </p14:section>
        <p14:section name="Lesson3" id="{555EB127-B06E-428F-91FE-B308FD5309AF}">
          <p14:sldIdLst>
            <p14:sldId id="571"/>
            <p14:sldId id="572"/>
            <p14:sldId id="573"/>
            <p14:sldId id="574"/>
            <p14:sldId id="575"/>
            <p14:sldId id="576"/>
            <p14:sldId id="577"/>
          </p14:sldIdLst>
        </p14:section>
        <p14:section name="Lesson4" id="{766836C7-99A8-40DF-9E34-AE1AE5FDDA20}">
          <p14:sldIdLst>
            <p14:sldId id="578"/>
            <p14:sldId id="579"/>
            <p14:sldId id="580"/>
            <p14:sldId id="581"/>
            <p14:sldId id="582"/>
            <p14:sldId id="583"/>
            <p14:sldId id="584"/>
          </p14:sldIdLst>
        </p14:section>
        <p14:section name="Lesson5" id="{96039095-3569-4714-8BA0-CD7DAEC987F6}">
          <p14:sldIdLst>
            <p14:sldId id="585"/>
            <p14:sldId id="586"/>
            <p14:sldId id="587"/>
            <p14:sldId id="616"/>
            <p14:sldId id="617"/>
            <p14:sldId id="618"/>
            <p14:sldId id="619"/>
            <p14:sldId id="620"/>
            <p14:sldId id="621"/>
            <p14:sldId id="622"/>
            <p14:sldId id="623"/>
            <p14:sldId id="624"/>
            <p14:sldId id="588"/>
            <p14:sldId id="589"/>
            <p14:sldId id="591"/>
            <p14:sldId id="590"/>
          </p14:sldIdLst>
        </p14:section>
        <p14:section name="Lesson6" id="{19038292-27A0-463E-9A3B-9DE8FD99F03E}">
          <p14:sldIdLst>
            <p14:sldId id="592"/>
            <p14:sldId id="593"/>
            <p14:sldId id="594"/>
            <p14:sldId id="595"/>
            <p14:sldId id="596"/>
            <p14:sldId id="597"/>
            <p14:sldId id="598"/>
          </p14:sldIdLst>
        </p14:section>
        <p14:section name="Lesson7" id="{11AE268A-F55B-4E85-8BE5-E38395F61660}">
          <p14:sldIdLst>
            <p14:sldId id="599"/>
            <p14:sldId id="600"/>
            <p14:sldId id="601"/>
            <p14:sldId id="602"/>
            <p14:sldId id="603"/>
            <p14:sldId id="604"/>
            <p14:sldId id="605"/>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6" autoAdjust="0"/>
    <p:restoredTop sz="82123" autoAdjust="0"/>
  </p:normalViewPr>
  <p:slideViewPr>
    <p:cSldViewPr showGuides="1">
      <p:cViewPr varScale="1">
        <p:scale>
          <a:sx n="102" d="100"/>
          <a:sy n="102" d="100"/>
        </p:scale>
        <p:origin x="816" y="114"/>
      </p:cViewPr>
      <p:guideLst/>
    </p:cSldViewPr>
  </p:slideViewPr>
  <p:outlineViewPr>
    <p:cViewPr>
      <p:scale>
        <a:sx n="33" d="100"/>
        <a:sy n="33" d="100"/>
      </p:scale>
      <p:origin x="0" y="-2808"/>
    </p:cViewPr>
  </p:outlin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96" d="100"/>
          <a:sy n="96" d="100"/>
        </p:scale>
        <p:origin x="3642" y="1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handoutMaster" Target="handoutMasters/handoutMaster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5" Type="http://schemas.openxmlformats.org/officeDocument/2006/relationships/customXml" Target="../customXml/item5.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8" Type="http://schemas.openxmlformats.org/officeDocument/2006/relationships/customXml" Target="../customXml/item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slide" Target="slides/slide67.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notesMaster" Target="notesMasters/notesMaster1.xml"/><Relationship Id="rId9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customXml" Target="../customXml/item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1.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7" Type="http://schemas.openxmlformats.org/officeDocument/2006/relationships/customXml" Target="../customXml/item7.xml"/><Relationship Id="rId71" Type="http://schemas.openxmlformats.org/officeDocument/2006/relationships/slide" Target="slides/slide53.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customXml" Target="../customXml/item14.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s>
</file>

<file path=ppt/diagrams/_rels/data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43F650-C580-4EDE-AC17-EE759E3441AC}" type="doc">
      <dgm:prSet loTypeId="urn:microsoft.com/office/officeart/2005/8/layout/default" loCatId="list" qsTypeId="urn:microsoft.com/office/officeart/2005/8/quickstyle/simple4" qsCatId="simple" csTypeId="urn:microsoft.com/office/officeart/2005/8/colors/accent2_2" csCatId="accent2"/>
      <dgm:spPr/>
      <dgm:t>
        <a:bodyPr/>
        <a:lstStyle/>
        <a:p>
          <a:endParaRPr lang="en-US"/>
        </a:p>
      </dgm:t>
    </dgm:pt>
    <dgm:pt modelId="{84CCD8A3-7713-4C9B-9E61-557FCBDF14CE}">
      <dgm:prSet/>
      <dgm:spPr/>
      <dgm:t>
        <a:bodyPr/>
        <a:lstStyle/>
        <a:p>
          <a:r>
            <a:rPr lang="en-US"/>
            <a:t>Throuput Currency</a:t>
          </a:r>
        </a:p>
      </dgm:t>
    </dgm:pt>
    <dgm:pt modelId="{799667BA-F0F7-4CFB-94DA-151E0D3716C3}" type="parTrans" cxnId="{592D6CFC-EC92-46AF-AE83-41B249BDEA5C}">
      <dgm:prSet/>
      <dgm:spPr/>
      <dgm:t>
        <a:bodyPr/>
        <a:lstStyle/>
        <a:p>
          <a:endParaRPr lang="en-US"/>
        </a:p>
      </dgm:t>
    </dgm:pt>
    <dgm:pt modelId="{AE0B4271-A616-47A3-BF0A-0CF3CB6CC2DB}" type="sibTrans" cxnId="{592D6CFC-EC92-46AF-AE83-41B249BDEA5C}">
      <dgm:prSet/>
      <dgm:spPr/>
      <dgm:t>
        <a:bodyPr/>
        <a:lstStyle/>
        <a:p>
          <a:endParaRPr lang="en-US"/>
        </a:p>
      </dgm:t>
    </dgm:pt>
    <dgm:pt modelId="{00DA64C4-AAFD-42E9-8738-BD040601EFE9}">
      <dgm:prSet/>
      <dgm:spPr/>
      <dgm:t>
        <a:bodyPr/>
        <a:lstStyle/>
        <a:p>
          <a:r>
            <a:rPr lang="en-US"/>
            <a:t>Abstracts physical resources for predictable performance</a:t>
          </a:r>
        </a:p>
      </dgm:t>
    </dgm:pt>
    <dgm:pt modelId="{1889BB47-2345-4A18-AF6B-74A4152F33AC}" type="parTrans" cxnId="{841D0A6C-2A5F-4A49-8D2B-5291877078CA}">
      <dgm:prSet/>
      <dgm:spPr/>
      <dgm:t>
        <a:bodyPr/>
        <a:lstStyle/>
        <a:p>
          <a:endParaRPr lang="en-US"/>
        </a:p>
      </dgm:t>
    </dgm:pt>
    <dgm:pt modelId="{CC78FA44-03F1-4D20-BE03-915592D7911E}" type="sibTrans" cxnId="{841D0A6C-2A5F-4A49-8D2B-5291877078CA}">
      <dgm:prSet/>
      <dgm:spPr/>
      <dgm:t>
        <a:bodyPr/>
        <a:lstStyle/>
        <a:p>
          <a:endParaRPr lang="en-US"/>
        </a:p>
      </dgm:t>
    </dgm:pt>
    <dgm:pt modelId="{33C31312-CDEE-41CB-B8DA-E13FB9019556}">
      <dgm:prSet/>
      <dgm:spPr/>
      <dgm:t>
        <a:bodyPr/>
        <a:lstStyle/>
        <a:p>
          <a:r>
            <a:rPr lang="en-US"/>
            <a:t>1 RU = processing required to read a 1 KB item</a:t>
          </a:r>
        </a:p>
      </dgm:t>
    </dgm:pt>
    <dgm:pt modelId="{FDB0897E-EEB9-4157-B732-50530E530A35}" type="parTrans" cxnId="{F55C7FE1-0B3A-4B91-B143-A07F157E2A88}">
      <dgm:prSet/>
      <dgm:spPr/>
      <dgm:t>
        <a:bodyPr/>
        <a:lstStyle/>
        <a:p>
          <a:endParaRPr lang="en-US"/>
        </a:p>
      </dgm:t>
    </dgm:pt>
    <dgm:pt modelId="{3D8D6CCA-25A1-4131-9678-5DCD07B2D7B8}" type="sibTrans" cxnId="{F55C7FE1-0B3A-4B91-B143-A07F157E2A88}">
      <dgm:prSet/>
      <dgm:spPr/>
      <dgm:t>
        <a:bodyPr/>
        <a:lstStyle/>
        <a:p>
          <a:endParaRPr lang="en-US"/>
        </a:p>
      </dgm:t>
    </dgm:pt>
    <dgm:pt modelId="{5B62E9C9-8591-4ED0-BC65-0D5CC1E278E4}">
      <dgm:prSet/>
      <dgm:spPr/>
      <dgm:t>
        <a:bodyPr/>
        <a:lstStyle/>
        <a:p>
          <a:r>
            <a:rPr lang="en-US"/>
            <a:t>Reserved amount of guaranteed request units</a:t>
          </a:r>
        </a:p>
      </dgm:t>
    </dgm:pt>
    <dgm:pt modelId="{C00A569A-144C-43AA-ABD9-95FBD9D6FD1B}" type="parTrans" cxnId="{8635951E-4065-4A45-B148-6FD51B1CCC64}">
      <dgm:prSet/>
      <dgm:spPr/>
      <dgm:t>
        <a:bodyPr/>
        <a:lstStyle/>
        <a:p>
          <a:endParaRPr lang="en-US"/>
        </a:p>
      </dgm:t>
    </dgm:pt>
    <dgm:pt modelId="{E9C8A0ED-7B31-4B79-8D17-E0D301807F91}" type="sibTrans" cxnId="{8635951E-4065-4A45-B148-6FD51B1CCC64}">
      <dgm:prSet/>
      <dgm:spPr/>
      <dgm:t>
        <a:bodyPr/>
        <a:lstStyle/>
        <a:p>
          <a:endParaRPr lang="en-US"/>
        </a:p>
      </dgm:t>
    </dgm:pt>
    <dgm:pt modelId="{DB706BF7-08ED-43A1-8C61-F3A5195C0595}">
      <dgm:prSet/>
      <dgm:spPr/>
      <dgm:t>
        <a:bodyPr/>
        <a:lstStyle/>
        <a:p>
          <a:r>
            <a:rPr lang="en-US"/>
            <a:t>Specify RU/second for each collection</a:t>
          </a:r>
        </a:p>
      </dgm:t>
    </dgm:pt>
    <dgm:pt modelId="{D41F9B0B-7B0F-49E2-A42B-7CC0F627E1B2}" type="parTrans" cxnId="{B4A45E3C-EBC5-432D-A46C-D04FCDFB3CC3}">
      <dgm:prSet/>
      <dgm:spPr/>
      <dgm:t>
        <a:bodyPr/>
        <a:lstStyle/>
        <a:p>
          <a:endParaRPr lang="en-US"/>
        </a:p>
      </dgm:t>
    </dgm:pt>
    <dgm:pt modelId="{AB5C98D5-C545-4B48-9DF4-E5F0156A4C02}" type="sibTrans" cxnId="{B4A45E3C-EBC5-432D-A46C-D04FCDFB3CC3}">
      <dgm:prSet/>
      <dgm:spPr/>
      <dgm:t>
        <a:bodyPr/>
        <a:lstStyle/>
        <a:p>
          <a:endParaRPr lang="en-US"/>
        </a:p>
      </dgm:t>
    </dgm:pt>
    <dgm:pt modelId="{D1FB9354-2F74-4464-9AB6-945BCA76ED02}" type="pres">
      <dgm:prSet presAssocID="{E443F650-C580-4EDE-AC17-EE759E3441AC}" presName="diagram" presStyleCnt="0">
        <dgm:presLayoutVars>
          <dgm:dir/>
          <dgm:resizeHandles val="exact"/>
        </dgm:presLayoutVars>
      </dgm:prSet>
      <dgm:spPr/>
    </dgm:pt>
    <dgm:pt modelId="{77BADCE0-E871-4729-A7C3-4CCD86F4C6FE}" type="pres">
      <dgm:prSet presAssocID="{84CCD8A3-7713-4C9B-9E61-557FCBDF14CE}" presName="node" presStyleLbl="node1" presStyleIdx="0" presStyleCnt="5">
        <dgm:presLayoutVars>
          <dgm:bulletEnabled val="1"/>
        </dgm:presLayoutVars>
      </dgm:prSet>
      <dgm:spPr/>
    </dgm:pt>
    <dgm:pt modelId="{562B4424-0DFB-4C1D-98CC-069909941987}" type="pres">
      <dgm:prSet presAssocID="{AE0B4271-A616-47A3-BF0A-0CF3CB6CC2DB}" presName="sibTrans" presStyleCnt="0"/>
      <dgm:spPr/>
    </dgm:pt>
    <dgm:pt modelId="{73EC6330-F0CF-4FB6-9187-9B8549AAE69F}" type="pres">
      <dgm:prSet presAssocID="{00DA64C4-AAFD-42E9-8738-BD040601EFE9}" presName="node" presStyleLbl="node1" presStyleIdx="1" presStyleCnt="5">
        <dgm:presLayoutVars>
          <dgm:bulletEnabled val="1"/>
        </dgm:presLayoutVars>
      </dgm:prSet>
      <dgm:spPr/>
    </dgm:pt>
    <dgm:pt modelId="{9F8C3BAC-C67F-4805-89B2-B48F1927FBE0}" type="pres">
      <dgm:prSet presAssocID="{CC78FA44-03F1-4D20-BE03-915592D7911E}" presName="sibTrans" presStyleCnt="0"/>
      <dgm:spPr/>
    </dgm:pt>
    <dgm:pt modelId="{2071A237-332F-4094-8370-48CD9A4DAE70}" type="pres">
      <dgm:prSet presAssocID="{33C31312-CDEE-41CB-B8DA-E13FB9019556}" presName="node" presStyleLbl="node1" presStyleIdx="2" presStyleCnt="5">
        <dgm:presLayoutVars>
          <dgm:bulletEnabled val="1"/>
        </dgm:presLayoutVars>
      </dgm:prSet>
      <dgm:spPr/>
    </dgm:pt>
    <dgm:pt modelId="{72396848-7BCE-4BEA-98B5-453F551092AB}" type="pres">
      <dgm:prSet presAssocID="{3D8D6CCA-25A1-4131-9678-5DCD07B2D7B8}" presName="sibTrans" presStyleCnt="0"/>
      <dgm:spPr/>
    </dgm:pt>
    <dgm:pt modelId="{3E80459E-C25F-4D24-9333-74FA78B2E152}" type="pres">
      <dgm:prSet presAssocID="{5B62E9C9-8591-4ED0-BC65-0D5CC1E278E4}" presName="node" presStyleLbl="node1" presStyleIdx="3" presStyleCnt="5">
        <dgm:presLayoutVars>
          <dgm:bulletEnabled val="1"/>
        </dgm:presLayoutVars>
      </dgm:prSet>
      <dgm:spPr/>
    </dgm:pt>
    <dgm:pt modelId="{D8A9BCE9-460E-4907-9C0D-DDFAB196CA85}" type="pres">
      <dgm:prSet presAssocID="{E9C8A0ED-7B31-4B79-8D17-E0D301807F91}" presName="sibTrans" presStyleCnt="0"/>
      <dgm:spPr/>
    </dgm:pt>
    <dgm:pt modelId="{A94C2F05-EB04-404D-AEBB-457584AACCAD}" type="pres">
      <dgm:prSet presAssocID="{DB706BF7-08ED-43A1-8C61-F3A5195C0595}" presName="node" presStyleLbl="node1" presStyleIdx="4" presStyleCnt="5">
        <dgm:presLayoutVars>
          <dgm:bulletEnabled val="1"/>
        </dgm:presLayoutVars>
      </dgm:prSet>
      <dgm:spPr/>
    </dgm:pt>
  </dgm:ptLst>
  <dgm:cxnLst>
    <dgm:cxn modelId="{8635951E-4065-4A45-B148-6FD51B1CCC64}" srcId="{E443F650-C580-4EDE-AC17-EE759E3441AC}" destId="{5B62E9C9-8591-4ED0-BC65-0D5CC1E278E4}" srcOrd="3" destOrd="0" parTransId="{C00A569A-144C-43AA-ABD9-95FBD9D6FD1B}" sibTransId="{E9C8A0ED-7B31-4B79-8D17-E0D301807F91}"/>
    <dgm:cxn modelId="{B4A45E3C-EBC5-432D-A46C-D04FCDFB3CC3}" srcId="{E443F650-C580-4EDE-AC17-EE759E3441AC}" destId="{DB706BF7-08ED-43A1-8C61-F3A5195C0595}" srcOrd="4" destOrd="0" parTransId="{D41F9B0B-7B0F-49E2-A42B-7CC0F627E1B2}" sibTransId="{AB5C98D5-C545-4B48-9DF4-E5F0156A4C02}"/>
    <dgm:cxn modelId="{841D0A6C-2A5F-4A49-8D2B-5291877078CA}" srcId="{E443F650-C580-4EDE-AC17-EE759E3441AC}" destId="{00DA64C4-AAFD-42E9-8738-BD040601EFE9}" srcOrd="1" destOrd="0" parTransId="{1889BB47-2345-4A18-AF6B-74A4152F33AC}" sibTransId="{CC78FA44-03F1-4D20-BE03-915592D7911E}"/>
    <dgm:cxn modelId="{01DDBD7A-6612-43F9-87FD-D05A3D802D06}" type="presOf" srcId="{33C31312-CDEE-41CB-B8DA-E13FB9019556}" destId="{2071A237-332F-4094-8370-48CD9A4DAE70}" srcOrd="0" destOrd="0" presId="urn:microsoft.com/office/officeart/2005/8/layout/default"/>
    <dgm:cxn modelId="{5F393292-6B84-447B-B98F-654877047A45}" type="presOf" srcId="{E443F650-C580-4EDE-AC17-EE759E3441AC}" destId="{D1FB9354-2F74-4464-9AB6-945BCA76ED02}" srcOrd="0" destOrd="0" presId="urn:microsoft.com/office/officeart/2005/8/layout/default"/>
    <dgm:cxn modelId="{D9B337AF-F75F-46D0-8078-1CD99E5CD70C}" type="presOf" srcId="{DB706BF7-08ED-43A1-8C61-F3A5195C0595}" destId="{A94C2F05-EB04-404D-AEBB-457584AACCAD}" srcOrd="0" destOrd="0" presId="urn:microsoft.com/office/officeart/2005/8/layout/default"/>
    <dgm:cxn modelId="{173B39B9-7CCE-4781-BDBA-D7BF3F21858F}" type="presOf" srcId="{00DA64C4-AAFD-42E9-8738-BD040601EFE9}" destId="{73EC6330-F0CF-4FB6-9187-9B8549AAE69F}" srcOrd="0" destOrd="0" presId="urn:microsoft.com/office/officeart/2005/8/layout/default"/>
    <dgm:cxn modelId="{1F94F8C8-1353-4E88-BD94-C35D47FF1567}" type="presOf" srcId="{84CCD8A3-7713-4C9B-9E61-557FCBDF14CE}" destId="{77BADCE0-E871-4729-A7C3-4CCD86F4C6FE}" srcOrd="0" destOrd="0" presId="urn:microsoft.com/office/officeart/2005/8/layout/default"/>
    <dgm:cxn modelId="{9077BCD1-C6DC-496C-895F-508076011ADE}" type="presOf" srcId="{5B62E9C9-8591-4ED0-BC65-0D5CC1E278E4}" destId="{3E80459E-C25F-4D24-9333-74FA78B2E152}" srcOrd="0" destOrd="0" presId="urn:microsoft.com/office/officeart/2005/8/layout/default"/>
    <dgm:cxn modelId="{F55C7FE1-0B3A-4B91-B143-A07F157E2A88}" srcId="{E443F650-C580-4EDE-AC17-EE759E3441AC}" destId="{33C31312-CDEE-41CB-B8DA-E13FB9019556}" srcOrd="2" destOrd="0" parTransId="{FDB0897E-EEB9-4157-B732-50530E530A35}" sibTransId="{3D8D6CCA-25A1-4131-9678-5DCD07B2D7B8}"/>
    <dgm:cxn modelId="{592D6CFC-EC92-46AF-AE83-41B249BDEA5C}" srcId="{E443F650-C580-4EDE-AC17-EE759E3441AC}" destId="{84CCD8A3-7713-4C9B-9E61-557FCBDF14CE}" srcOrd="0" destOrd="0" parTransId="{799667BA-F0F7-4CFB-94DA-151E0D3716C3}" sibTransId="{AE0B4271-A616-47A3-BF0A-0CF3CB6CC2DB}"/>
    <dgm:cxn modelId="{34E89BD7-C996-4BA2-8481-A52B2DA22514}" type="presParOf" srcId="{D1FB9354-2F74-4464-9AB6-945BCA76ED02}" destId="{77BADCE0-E871-4729-A7C3-4CCD86F4C6FE}" srcOrd="0" destOrd="0" presId="urn:microsoft.com/office/officeart/2005/8/layout/default"/>
    <dgm:cxn modelId="{E5FB2CA1-6C3E-4E83-A9F9-8FB07226DC23}" type="presParOf" srcId="{D1FB9354-2F74-4464-9AB6-945BCA76ED02}" destId="{562B4424-0DFB-4C1D-98CC-069909941987}" srcOrd="1" destOrd="0" presId="urn:microsoft.com/office/officeart/2005/8/layout/default"/>
    <dgm:cxn modelId="{0EA54750-DAC8-4B42-8EA5-5FC82C7FCF7D}" type="presParOf" srcId="{D1FB9354-2F74-4464-9AB6-945BCA76ED02}" destId="{73EC6330-F0CF-4FB6-9187-9B8549AAE69F}" srcOrd="2" destOrd="0" presId="urn:microsoft.com/office/officeart/2005/8/layout/default"/>
    <dgm:cxn modelId="{808096DA-C268-43BE-90A0-768E77B40AFA}" type="presParOf" srcId="{D1FB9354-2F74-4464-9AB6-945BCA76ED02}" destId="{9F8C3BAC-C67F-4805-89B2-B48F1927FBE0}" srcOrd="3" destOrd="0" presId="urn:microsoft.com/office/officeart/2005/8/layout/default"/>
    <dgm:cxn modelId="{70F382A2-BA03-412F-B789-DF994F9C31FB}" type="presParOf" srcId="{D1FB9354-2F74-4464-9AB6-945BCA76ED02}" destId="{2071A237-332F-4094-8370-48CD9A4DAE70}" srcOrd="4" destOrd="0" presId="urn:microsoft.com/office/officeart/2005/8/layout/default"/>
    <dgm:cxn modelId="{3BF114E7-539D-4727-B306-16C7F7E56BAE}" type="presParOf" srcId="{D1FB9354-2F74-4464-9AB6-945BCA76ED02}" destId="{72396848-7BCE-4BEA-98B5-453F551092AB}" srcOrd="5" destOrd="0" presId="urn:microsoft.com/office/officeart/2005/8/layout/default"/>
    <dgm:cxn modelId="{38879BBF-91B3-47E2-AC79-3CBC2B5F6F35}" type="presParOf" srcId="{D1FB9354-2F74-4464-9AB6-945BCA76ED02}" destId="{3E80459E-C25F-4D24-9333-74FA78B2E152}" srcOrd="6" destOrd="0" presId="urn:microsoft.com/office/officeart/2005/8/layout/default"/>
    <dgm:cxn modelId="{CA7BCA8E-0C4E-4A66-AB6A-6C37F064F4FA}" type="presParOf" srcId="{D1FB9354-2F74-4464-9AB6-945BCA76ED02}" destId="{D8A9BCE9-460E-4907-9C0D-DDFAB196CA85}" srcOrd="7" destOrd="0" presId="urn:microsoft.com/office/officeart/2005/8/layout/default"/>
    <dgm:cxn modelId="{B2A1547E-91A5-4054-89CA-9927D6570A61}" type="presParOf" srcId="{D1FB9354-2F74-4464-9AB6-945BCA76ED02}" destId="{A94C2F05-EB04-404D-AEBB-457584AACCAD}"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EDD19FF-1923-4C9F-A542-C635EFAC1455}" type="doc">
      <dgm:prSet loTypeId="urn:microsoft.com/office/officeart/2016/7/layout/VerticalSolidActionList" loCatId="List" qsTypeId="urn:microsoft.com/office/officeart/2005/8/quickstyle/simple5" qsCatId="simple" csTypeId="urn:microsoft.com/office/officeart/2005/8/colors/accent1_2" csCatId="accent1" phldr="1"/>
      <dgm:spPr/>
      <dgm:t>
        <a:bodyPr/>
        <a:lstStyle/>
        <a:p>
          <a:endParaRPr lang="en-US"/>
        </a:p>
      </dgm:t>
    </dgm:pt>
    <dgm:pt modelId="{14D73F0C-F4F1-441E-A6A5-7AABD80BD89C}">
      <dgm:prSet/>
      <dgm:spPr/>
      <dgm:t>
        <a:bodyPr/>
        <a:lstStyle/>
        <a:p>
          <a:r>
            <a:rPr lang="en-US"/>
            <a:t>/</a:t>
          </a:r>
        </a:p>
      </dgm:t>
    </dgm:pt>
    <dgm:pt modelId="{DF07B41D-A0D8-4F16-A009-C9FDD1821293}" type="parTrans" cxnId="{010AB2D6-2672-4213-8E3C-FEC9D5B34F66}">
      <dgm:prSet/>
      <dgm:spPr/>
      <dgm:t>
        <a:bodyPr/>
        <a:lstStyle/>
        <a:p>
          <a:endParaRPr lang="en-US"/>
        </a:p>
      </dgm:t>
    </dgm:pt>
    <dgm:pt modelId="{12FEE4E8-BC16-4616-8563-FCA5ECF3968F}" type="sibTrans" cxnId="{010AB2D6-2672-4213-8E3C-FEC9D5B34F66}">
      <dgm:prSet/>
      <dgm:spPr/>
      <dgm:t>
        <a:bodyPr/>
        <a:lstStyle/>
        <a:p>
          <a:endParaRPr lang="en-US"/>
        </a:p>
      </dgm:t>
    </dgm:pt>
    <dgm:pt modelId="{1AE5F899-D8BA-406A-AD4F-9DF3967CBF64}">
      <dgm:prSet custT="1"/>
      <dgm:spPr/>
      <dgm:t>
        <a:bodyPr/>
        <a:lstStyle/>
        <a:p>
          <a:r>
            <a:rPr lang="en-US" sz="1100" dirty="0"/>
            <a:t>Default path for collection. Recursive and applies to the entire document tree.</a:t>
          </a:r>
        </a:p>
      </dgm:t>
    </dgm:pt>
    <dgm:pt modelId="{6DC19342-B5EF-4EBF-A38E-4AB9D20DC5A6}" type="parTrans" cxnId="{D985F81C-4953-4884-99A4-558E91B9EA04}">
      <dgm:prSet/>
      <dgm:spPr/>
      <dgm:t>
        <a:bodyPr/>
        <a:lstStyle/>
        <a:p>
          <a:endParaRPr lang="en-US"/>
        </a:p>
      </dgm:t>
    </dgm:pt>
    <dgm:pt modelId="{533D7BBC-DC19-417A-A6EF-E94C7F6ADB0C}" type="sibTrans" cxnId="{D985F81C-4953-4884-99A4-558E91B9EA04}">
      <dgm:prSet/>
      <dgm:spPr/>
      <dgm:t>
        <a:bodyPr/>
        <a:lstStyle/>
        <a:p>
          <a:endParaRPr lang="en-US"/>
        </a:p>
      </dgm:t>
    </dgm:pt>
    <dgm:pt modelId="{E9F01767-BDD1-4868-863A-48563B3C7111}">
      <dgm:prSet/>
      <dgm:spPr/>
      <dgm:t>
        <a:bodyPr/>
        <a:lstStyle/>
        <a:p>
          <a:r>
            <a:rPr lang="en-US"/>
            <a:t>/prop/?</a:t>
          </a:r>
        </a:p>
      </dgm:t>
    </dgm:pt>
    <dgm:pt modelId="{532B1E65-AFB9-407D-8010-1A2D0901F5CC}" type="parTrans" cxnId="{F334B65A-4E03-43F6-92CB-292B776CBC01}">
      <dgm:prSet/>
      <dgm:spPr/>
      <dgm:t>
        <a:bodyPr/>
        <a:lstStyle/>
        <a:p>
          <a:endParaRPr lang="en-US"/>
        </a:p>
      </dgm:t>
    </dgm:pt>
    <dgm:pt modelId="{AED811AF-7855-4F74-B182-9812C41723A5}" type="sibTrans" cxnId="{F334B65A-4E03-43F6-92CB-292B776CBC01}">
      <dgm:prSet/>
      <dgm:spPr/>
      <dgm:t>
        <a:bodyPr/>
        <a:lstStyle/>
        <a:p>
          <a:endParaRPr lang="en-US"/>
        </a:p>
      </dgm:t>
    </dgm:pt>
    <dgm:pt modelId="{9DC40C84-FE5E-44FD-B88E-29BC33D99EC8}">
      <dgm:prSet/>
      <dgm:spPr/>
      <dgm:t>
        <a:bodyPr anchor="ctr"/>
        <a:lstStyle/>
        <a:p>
          <a:r>
            <a:rPr lang="en-US" sz="1100"/>
            <a:t>Index path required to serve queries at this level</a:t>
          </a:r>
        </a:p>
      </dgm:t>
    </dgm:pt>
    <dgm:pt modelId="{6AE658E9-5D7C-4496-95B9-6900F2D6FD45}" type="parTrans" cxnId="{A0156263-E17C-456D-AC0C-57E92D3B5941}">
      <dgm:prSet/>
      <dgm:spPr/>
      <dgm:t>
        <a:bodyPr/>
        <a:lstStyle/>
        <a:p>
          <a:endParaRPr lang="en-US"/>
        </a:p>
      </dgm:t>
    </dgm:pt>
    <dgm:pt modelId="{23EED714-9B83-4910-948A-84DA7AFA6B54}" type="sibTrans" cxnId="{A0156263-E17C-456D-AC0C-57E92D3B5941}">
      <dgm:prSet/>
      <dgm:spPr/>
      <dgm:t>
        <a:bodyPr/>
        <a:lstStyle/>
        <a:p>
          <a:endParaRPr lang="en-US"/>
        </a:p>
      </dgm:t>
    </dgm:pt>
    <dgm:pt modelId="{576F8F4C-1B18-4F1A-BE32-02DD68C37122}">
      <dgm:prSet custT="1"/>
      <dgm:spPr/>
      <dgm:t>
        <a:bodyPr anchor="ctr"/>
        <a:lstStyle/>
        <a:p>
          <a:r>
            <a:rPr lang="en-US" sz="1000" dirty="0"/>
            <a:t>SELECT FROM collection c WHERE </a:t>
          </a:r>
          <a:r>
            <a:rPr lang="en-US" sz="1000" dirty="0" err="1"/>
            <a:t>c.prop</a:t>
          </a:r>
          <a:r>
            <a:rPr lang="en-US" sz="1000" dirty="0"/>
            <a:t> = "value“</a:t>
          </a:r>
        </a:p>
      </dgm:t>
    </dgm:pt>
    <dgm:pt modelId="{B480E8FC-16A4-4D59-9C91-83786D7F693B}" type="parTrans" cxnId="{D1162457-58C7-48F9-BBF5-CEFF3D28351C}">
      <dgm:prSet/>
      <dgm:spPr/>
      <dgm:t>
        <a:bodyPr/>
        <a:lstStyle/>
        <a:p>
          <a:endParaRPr lang="en-US"/>
        </a:p>
      </dgm:t>
    </dgm:pt>
    <dgm:pt modelId="{CD5BF26F-AB8B-4670-8AEE-538AB91007F2}" type="sibTrans" cxnId="{D1162457-58C7-48F9-BBF5-CEFF3D28351C}">
      <dgm:prSet/>
      <dgm:spPr/>
      <dgm:t>
        <a:bodyPr/>
        <a:lstStyle/>
        <a:p>
          <a:endParaRPr lang="en-US"/>
        </a:p>
      </dgm:t>
    </dgm:pt>
    <dgm:pt modelId="{B1571851-E281-48BB-B1C0-407267CF913B}">
      <dgm:prSet custT="1"/>
      <dgm:spPr/>
      <dgm:t>
        <a:bodyPr anchor="ctr"/>
        <a:lstStyle/>
        <a:p>
          <a:r>
            <a:rPr lang="en-US" sz="1000" dirty="0"/>
            <a:t>SELECT FROM collection c WHERE </a:t>
          </a:r>
          <a:r>
            <a:rPr lang="en-US" sz="1000" dirty="0" err="1"/>
            <a:t>c.prop</a:t>
          </a:r>
          <a:r>
            <a:rPr lang="en-US" sz="1000" dirty="0"/>
            <a:t> &gt; 5</a:t>
          </a:r>
        </a:p>
      </dgm:t>
    </dgm:pt>
    <dgm:pt modelId="{DA17FAAA-060C-457A-9FD8-2A048386F605}" type="parTrans" cxnId="{7488216B-1389-4FE5-A286-8EC1D20E75F1}">
      <dgm:prSet/>
      <dgm:spPr/>
      <dgm:t>
        <a:bodyPr/>
        <a:lstStyle/>
        <a:p>
          <a:endParaRPr lang="en-US"/>
        </a:p>
      </dgm:t>
    </dgm:pt>
    <dgm:pt modelId="{FA2A2B94-B70E-486A-A4DD-96BEF01C2DC2}" type="sibTrans" cxnId="{7488216B-1389-4FE5-A286-8EC1D20E75F1}">
      <dgm:prSet/>
      <dgm:spPr/>
      <dgm:t>
        <a:bodyPr/>
        <a:lstStyle/>
        <a:p>
          <a:endParaRPr lang="en-US"/>
        </a:p>
      </dgm:t>
    </dgm:pt>
    <dgm:pt modelId="{A3F29EBA-0D2F-4124-B0B5-1DE556D2549C}">
      <dgm:prSet custT="1"/>
      <dgm:spPr/>
      <dgm:t>
        <a:bodyPr anchor="ctr"/>
        <a:lstStyle/>
        <a:p>
          <a:r>
            <a:rPr lang="en-US" sz="1000" dirty="0"/>
            <a:t>SELECT FROM collection c ORDER BY </a:t>
          </a:r>
          <a:r>
            <a:rPr lang="en-US" sz="1000" dirty="0" err="1"/>
            <a:t>c.prop</a:t>
          </a:r>
          <a:endParaRPr lang="en-US" sz="1000" dirty="0"/>
        </a:p>
      </dgm:t>
    </dgm:pt>
    <dgm:pt modelId="{B9B98024-AF2C-4A25-85FB-6A95DC2820AE}" type="parTrans" cxnId="{E6870958-BEFF-49BE-8CF2-C4324396A0A4}">
      <dgm:prSet/>
      <dgm:spPr/>
      <dgm:t>
        <a:bodyPr/>
        <a:lstStyle/>
        <a:p>
          <a:endParaRPr lang="en-US"/>
        </a:p>
      </dgm:t>
    </dgm:pt>
    <dgm:pt modelId="{7CC24409-30BF-41B3-A6E4-70AC1F3893C7}" type="sibTrans" cxnId="{E6870958-BEFF-49BE-8CF2-C4324396A0A4}">
      <dgm:prSet/>
      <dgm:spPr/>
      <dgm:t>
        <a:bodyPr/>
        <a:lstStyle/>
        <a:p>
          <a:endParaRPr lang="en-US"/>
        </a:p>
      </dgm:t>
    </dgm:pt>
    <dgm:pt modelId="{E7C0F9FE-FFB6-4359-8987-8EBA2EC6947B}">
      <dgm:prSet/>
      <dgm:spPr/>
      <dgm:t>
        <a:bodyPr/>
        <a:lstStyle/>
        <a:p>
          <a:r>
            <a:rPr lang="en-US"/>
            <a:t>/prop/*</a:t>
          </a:r>
        </a:p>
      </dgm:t>
    </dgm:pt>
    <dgm:pt modelId="{FAE12DD1-6E55-4FFA-BDF4-09790EFB211F}" type="parTrans" cxnId="{B1BDC39E-8403-4068-A82E-38726B306D66}">
      <dgm:prSet/>
      <dgm:spPr/>
      <dgm:t>
        <a:bodyPr/>
        <a:lstStyle/>
        <a:p>
          <a:endParaRPr lang="en-US"/>
        </a:p>
      </dgm:t>
    </dgm:pt>
    <dgm:pt modelId="{4143B97A-D866-4CB6-A546-7294CB38E369}" type="sibTrans" cxnId="{B1BDC39E-8403-4068-A82E-38726B306D66}">
      <dgm:prSet/>
      <dgm:spPr/>
      <dgm:t>
        <a:bodyPr/>
        <a:lstStyle/>
        <a:p>
          <a:endParaRPr lang="en-US"/>
        </a:p>
      </dgm:t>
    </dgm:pt>
    <dgm:pt modelId="{8146ECC7-6704-4E93-8EED-6EDF45986C8B}">
      <dgm:prSet custT="1"/>
      <dgm:spPr/>
      <dgm:t>
        <a:bodyPr anchor="ctr"/>
        <a:lstStyle/>
        <a:p>
          <a:pPr>
            <a:buNone/>
          </a:pPr>
          <a:r>
            <a:rPr lang="en-US" sz="1100" dirty="0"/>
            <a:t>Index path for all paths under the specified label.</a:t>
          </a:r>
          <a:endParaRPr lang="en-US" sz="1050" dirty="0"/>
        </a:p>
      </dgm:t>
    </dgm:pt>
    <dgm:pt modelId="{DDE42554-D6B5-4F52-AFC5-3080B0FC0BB6}" type="parTrans" cxnId="{F6265E4B-66AF-4774-8822-4014AA0EF619}">
      <dgm:prSet/>
      <dgm:spPr/>
      <dgm:t>
        <a:bodyPr/>
        <a:lstStyle/>
        <a:p>
          <a:endParaRPr lang="en-US"/>
        </a:p>
      </dgm:t>
    </dgm:pt>
    <dgm:pt modelId="{33397BB9-F971-41F4-AA4D-367853AD0AEF}" type="sibTrans" cxnId="{F6265E4B-66AF-4774-8822-4014AA0EF619}">
      <dgm:prSet/>
      <dgm:spPr/>
      <dgm:t>
        <a:bodyPr/>
        <a:lstStyle/>
        <a:p>
          <a:endParaRPr lang="en-US"/>
        </a:p>
      </dgm:t>
    </dgm:pt>
    <dgm:pt modelId="{04D51A7A-BAEE-4470-A7F3-EDD946DCC255}">
      <dgm:prSet custT="1"/>
      <dgm:spPr/>
      <dgm:t>
        <a:bodyPr anchor="ctr"/>
        <a:lstStyle/>
        <a:p>
          <a:r>
            <a:rPr lang="en-US" sz="1000" dirty="0"/>
            <a:t>SELECT FROM collection c WHERE </a:t>
          </a:r>
          <a:r>
            <a:rPr lang="en-US" sz="1000" dirty="0" err="1"/>
            <a:t>c.prop.subprop</a:t>
          </a:r>
          <a:r>
            <a:rPr lang="en-US" sz="1000" dirty="0"/>
            <a:t> &gt; 5</a:t>
          </a:r>
        </a:p>
      </dgm:t>
    </dgm:pt>
    <dgm:pt modelId="{9FEF35DB-67C8-4139-BAC8-8A5F06EFE3B9}" type="parTrans" cxnId="{7AB5FC79-EC17-48B4-AF29-D6D9AA8BF791}">
      <dgm:prSet/>
      <dgm:spPr/>
      <dgm:t>
        <a:bodyPr/>
        <a:lstStyle/>
        <a:p>
          <a:endParaRPr lang="en-US"/>
        </a:p>
      </dgm:t>
    </dgm:pt>
    <dgm:pt modelId="{885AE24E-2A0D-4054-9EAC-D7FE6E2C4988}" type="sibTrans" cxnId="{7AB5FC79-EC17-48B4-AF29-D6D9AA8BF791}">
      <dgm:prSet/>
      <dgm:spPr/>
      <dgm:t>
        <a:bodyPr/>
        <a:lstStyle/>
        <a:p>
          <a:endParaRPr lang="en-US"/>
        </a:p>
      </dgm:t>
    </dgm:pt>
    <dgm:pt modelId="{69F00C13-E921-418B-96FD-F9B1E1681C22}">
      <dgm:prSet custT="1"/>
      <dgm:spPr/>
      <dgm:t>
        <a:bodyPr anchor="ctr"/>
        <a:lstStyle/>
        <a:p>
          <a:r>
            <a:rPr lang="en-US" sz="1000" dirty="0"/>
            <a:t>SELECT FROM collection c WHERE </a:t>
          </a:r>
          <a:r>
            <a:rPr lang="en-US" sz="1000" dirty="0" err="1"/>
            <a:t>c.prop.subprop.nextprop</a:t>
          </a:r>
          <a:r>
            <a:rPr lang="en-US" sz="1000" dirty="0"/>
            <a:t> = "value</a:t>
          </a:r>
          <a:r>
            <a:rPr lang="en-US" sz="900" dirty="0"/>
            <a:t>“</a:t>
          </a:r>
        </a:p>
      </dgm:t>
    </dgm:pt>
    <dgm:pt modelId="{8EE8AF84-53AB-409E-8F06-4C472144729D}" type="parTrans" cxnId="{29C49975-55B8-49A1-BBD6-D640E9D21CEF}">
      <dgm:prSet/>
      <dgm:spPr/>
      <dgm:t>
        <a:bodyPr/>
        <a:lstStyle/>
        <a:p>
          <a:endParaRPr lang="en-US"/>
        </a:p>
      </dgm:t>
    </dgm:pt>
    <dgm:pt modelId="{E25532D1-A5DE-4E8F-AD21-D4FF54022D30}" type="sibTrans" cxnId="{29C49975-55B8-49A1-BBD6-D640E9D21CEF}">
      <dgm:prSet/>
      <dgm:spPr/>
      <dgm:t>
        <a:bodyPr/>
        <a:lstStyle/>
        <a:p>
          <a:endParaRPr lang="en-US"/>
        </a:p>
      </dgm:t>
    </dgm:pt>
    <dgm:pt modelId="{C3ED7E78-18B4-4104-81EB-BCAA5C18812D}">
      <dgm:prSet/>
      <dgm:spPr/>
      <dgm:t>
        <a:bodyPr/>
        <a:lstStyle/>
        <a:p>
          <a:r>
            <a:rPr lang="en-US" u="none" strike="noStrike" dirty="0">
              <a:effectLst/>
            </a:rPr>
            <a:t>/props/[]/?</a:t>
          </a:r>
          <a:endParaRPr lang="en-US" dirty="0"/>
        </a:p>
      </dgm:t>
    </dgm:pt>
    <dgm:pt modelId="{A40D5EFB-B5CE-4C90-AC5F-8E6432F5D601}" type="parTrans" cxnId="{13739B1C-7680-4FF5-870F-D4AFDE359840}">
      <dgm:prSet/>
      <dgm:spPr/>
      <dgm:t>
        <a:bodyPr/>
        <a:lstStyle/>
        <a:p>
          <a:endParaRPr lang="en-US"/>
        </a:p>
      </dgm:t>
    </dgm:pt>
    <dgm:pt modelId="{EE32BBFB-DAA7-400A-BE61-697F64B2E8A5}" type="sibTrans" cxnId="{13739B1C-7680-4FF5-870F-D4AFDE359840}">
      <dgm:prSet/>
      <dgm:spPr/>
      <dgm:t>
        <a:bodyPr/>
        <a:lstStyle/>
        <a:p>
          <a:endParaRPr lang="en-US"/>
        </a:p>
      </dgm:t>
    </dgm:pt>
    <dgm:pt modelId="{7BFB56A4-A88C-4200-9621-ABC119986259}">
      <dgm:prSet/>
      <dgm:spPr/>
      <dgm:t>
        <a:bodyPr/>
        <a:lstStyle/>
        <a:p>
          <a:r>
            <a:rPr lang="en-US" u="none" strike="noStrike" dirty="0">
              <a:effectLst/>
            </a:rPr>
            <a:t>/prop/subprop/?</a:t>
          </a:r>
          <a:endParaRPr lang="en-US" dirty="0"/>
        </a:p>
      </dgm:t>
    </dgm:pt>
    <dgm:pt modelId="{4E5967CF-B609-4734-8978-3F180D9616F9}" type="parTrans" cxnId="{F86C69AB-9869-47CB-9A09-59AE47157BB8}">
      <dgm:prSet/>
      <dgm:spPr/>
      <dgm:t>
        <a:bodyPr/>
        <a:lstStyle/>
        <a:p>
          <a:endParaRPr lang="en-US"/>
        </a:p>
      </dgm:t>
    </dgm:pt>
    <dgm:pt modelId="{E08F8200-2CC2-4343-B7C3-571959BD2C57}" type="sibTrans" cxnId="{F86C69AB-9869-47CB-9A09-59AE47157BB8}">
      <dgm:prSet/>
      <dgm:spPr/>
      <dgm:t>
        <a:bodyPr/>
        <a:lstStyle/>
        <a:p>
          <a:endParaRPr lang="en-US"/>
        </a:p>
      </dgm:t>
    </dgm:pt>
    <dgm:pt modelId="{5623EF5B-F205-4193-85DA-42E9A1567FC6}">
      <dgm:prSet custT="1"/>
      <dgm:spPr/>
      <dgm:t>
        <a:bodyPr anchor="ctr"/>
        <a:lstStyle/>
        <a:p>
          <a:pPr>
            <a:buFont typeface="Arial" panose="020B0604020202020204" pitchFamily="34" charset="0"/>
            <a:buChar char="•"/>
          </a:pPr>
          <a:r>
            <a:rPr lang="en-US" sz="1000" dirty="0"/>
            <a:t>SELECT FROM collection c WHERE </a:t>
          </a:r>
          <a:r>
            <a:rPr lang="en-US" sz="1000" dirty="0" err="1"/>
            <a:t>c.prop</a:t>
          </a:r>
          <a:r>
            <a:rPr lang="en-US" sz="1000" dirty="0"/>
            <a:t> = "value"</a:t>
          </a:r>
        </a:p>
      </dgm:t>
    </dgm:pt>
    <dgm:pt modelId="{93B99188-94F5-4B41-A3BB-B20DDBEDAB80}" type="parTrans" cxnId="{FAA40A19-6EC3-430C-A049-2CC2B89EFE62}">
      <dgm:prSet/>
      <dgm:spPr/>
      <dgm:t>
        <a:bodyPr/>
        <a:lstStyle/>
        <a:p>
          <a:endParaRPr lang="en-US"/>
        </a:p>
      </dgm:t>
    </dgm:pt>
    <dgm:pt modelId="{2B8EBC92-8DAB-4ECC-8BAC-87A66AB7D910}" type="sibTrans" cxnId="{FAA40A19-6EC3-430C-A049-2CC2B89EFE62}">
      <dgm:prSet/>
      <dgm:spPr/>
      <dgm:t>
        <a:bodyPr/>
        <a:lstStyle/>
        <a:p>
          <a:endParaRPr lang="en-US"/>
        </a:p>
      </dgm:t>
    </dgm:pt>
    <dgm:pt modelId="{27620715-7738-4936-B23E-56D7A4E62721}">
      <dgm:prSet/>
      <dgm:spPr/>
      <dgm:t>
        <a:bodyPr anchor="ctr"/>
        <a:lstStyle/>
        <a:p>
          <a:r>
            <a:rPr lang="en-US" sz="1100" u="none" strike="noStrike" dirty="0">
              <a:effectLst/>
            </a:rPr>
            <a:t>Serve iteration and </a:t>
          </a:r>
          <a:r>
            <a:rPr lang="en-US" sz="1100" u="none" strike="noStrike" dirty="0">
              <a:solidFill>
                <a:schemeClr val="tx1"/>
              </a:solidFill>
              <a:effectLst/>
            </a:rPr>
            <a:t>JOIN queries against scalar arrays</a:t>
          </a:r>
          <a:endParaRPr lang="en-US" sz="1100" dirty="0">
            <a:solidFill>
              <a:schemeClr val="tx1"/>
            </a:solidFill>
          </a:endParaRPr>
        </a:p>
      </dgm:t>
    </dgm:pt>
    <dgm:pt modelId="{0DB2E8F5-36DD-44B0-AA74-B861701A3CAD}" type="parTrans" cxnId="{48EC348B-F35F-4483-9F61-FFAA2DADDFBB}">
      <dgm:prSet/>
      <dgm:spPr/>
      <dgm:t>
        <a:bodyPr/>
        <a:lstStyle/>
        <a:p>
          <a:endParaRPr lang="en-US"/>
        </a:p>
      </dgm:t>
    </dgm:pt>
    <dgm:pt modelId="{A04B9991-D414-4C23-80B1-A6FB4C80754C}" type="sibTrans" cxnId="{48EC348B-F35F-4483-9F61-FFAA2DADDFBB}">
      <dgm:prSet/>
      <dgm:spPr/>
      <dgm:t>
        <a:bodyPr/>
        <a:lstStyle/>
        <a:p>
          <a:endParaRPr lang="en-US"/>
        </a:p>
      </dgm:t>
    </dgm:pt>
    <dgm:pt modelId="{74EDBC27-0DCC-45EE-8EE3-458BC722DB6A}">
      <dgm:prSet custT="1"/>
      <dgm:spPr/>
      <dgm:t>
        <a:bodyPr anchor="ctr"/>
        <a:lstStyle/>
        <a:p>
          <a:r>
            <a:rPr lang="en-US" sz="1000" u="none" strike="noStrike" dirty="0">
              <a:solidFill>
                <a:schemeClr val="tx1"/>
              </a:solidFill>
              <a:effectLst/>
            </a:rPr>
            <a:t>SELECT tag FROM tag IN </a:t>
          </a:r>
          <a:r>
            <a:rPr lang="en-US" sz="1000" u="none" strike="noStrike" dirty="0" err="1">
              <a:solidFill>
                <a:schemeClr val="tx1"/>
              </a:solidFill>
              <a:effectLst/>
            </a:rPr>
            <a:t>collection.props</a:t>
          </a:r>
          <a:r>
            <a:rPr lang="en-US" sz="1000" u="none" strike="noStrike" dirty="0">
              <a:solidFill>
                <a:schemeClr val="tx1"/>
              </a:solidFill>
              <a:effectLst/>
            </a:rPr>
            <a:t> WHERE tag = "value"</a:t>
          </a:r>
          <a:endParaRPr lang="en-US" sz="1000" dirty="0">
            <a:solidFill>
              <a:schemeClr val="tx1"/>
            </a:solidFill>
          </a:endParaRPr>
        </a:p>
      </dgm:t>
    </dgm:pt>
    <dgm:pt modelId="{1500CC2E-5FE2-48A2-B04D-5CC1F674542A}" type="parTrans" cxnId="{8F3421CB-D7AF-4E48-99D3-F03827988A5D}">
      <dgm:prSet/>
      <dgm:spPr/>
      <dgm:t>
        <a:bodyPr/>
        <a:lstStyle/>
        <a:p>
          <a:endParaRPr lang="en-US"/>
        </a:p>
      </dgm:t>
    </dgm:pt>
    <dgm:pt modelId="{6DD16BAD-00C1-4908-8107-58CE92EBBF36}" type="sibTrans" cxnId="{8F3421CB-D7AF-4E48-99D3-F03827988A5D}">
      <dgm:prSet/>
      <dgm:spPr/>
      <dgm:t>
        <a:bodyPr/>
        <a:lstStyle/>
        <a:p>
          <a:endParaRPr lang="en-US"/>
        </a:p>
      </dgm:t>
    </dgm:pt>
    <dgm:pt modelId="{6E0A31A8-A4BD-47A4-898A-DD06C7D7988E}">
      <dgm:prSet custT="1"/>
      <dgm:spPr/>
      <dgm:t>
        <a:bodyPr anchor="ctr"/>
        <a:lstStyle/>
        <a:p>
          <a:r>
            <a:rPr lang="en-US" sz="1000" u="none" strike="noStrike" dirty="0">
              <a:solidFill>
                <a:schemeClr val="tx1"/>
              </a:solidFill>
              <a:effectLst/>
            </a:rPr>
            <a:t>SELECT tag FROM collection c JOIN tag IN </a:t>
          </a:r>
          <a:r>
            <a:rPr lang="en-US" sz="1000" u="none" strike="noStrike" dirty="0" err="1">
              <a:solidFill>
                <a:schemeClr val="tx1"/>
              </a:solidFill>
              <a:effectLst/>
            </a:rPr>
            <a:t>c.props</a:t>
          </a:r>
          <a:r>
            <a:rPr lang="en-US" sz="1000" u="none" strike="noStrike" dirty="0">
              <a:solidFill>
                <a:schemeClr val="tx1"/>
              </a:solidFill>
              <a:effectLst/>
            </a:rPr>
            <a:t> WHERE tag &gt; 5</a:t>
          </a:r>
          <a:endParaRPr lang="en-US" sz="1000" dirty="0">
            <a:solidFill>
              <a:schemeClr val="tx1"/>
            </a:solidFill>
          </a:endParaRPr>
        </a:p>
      </dgm:t>
    </dgm:pt>
    <dgm:pt modelId="{EF563E96-C11B-4943-8035-BD0BC6DB95ED}" type="parTrans" cxnId="{3A5CEEB8-5AE0-4BB0-B5C4-74BCE7C07EC0}">
      <dgm:prSet/>
      <dgm:spPr/>
      <dgm:t>
        <a:bodyPr/>
        <a:lstStyle/>
        <a:p>
          <a:endParaRPr lang="en-US"/>
        </a:p>
      </dgm:t>
    </dgm:pt>
    <dgm:pt modelId="{5DF0FED7-4099-465C-BDFF-80C5CCC4CB94}" type="sibTrans" cxnId="{3A5CEEB8-5AE0-4BB0-B5C4-74BCE7C07EC0}">
      <dgm:prSet/>
      <dgm:spPr/>
      <dgm:t>
        <a:bodyPr/>
        <a:lstStyle/>
        <a:p>
          <a:endParaRPr lang="en-US"/>
        </a:p>
      </dgm:t>
    </dgm:pt>
    <dgm:pt modelId="{89FE835D-5773-46E6-9856-1E3EA0F3CBC4}">
      <dgm:prSet/>
      <dgm:spPr/>
      <dgm:t>
        <a:bodyPr anchor="ctr"/>
        <a:lstStyle/>
        <a:p>
          <a:r>
            <a:rPr lang="en-US" sz="1100" u="none" strike="noStrike" dirty="0">
              <a:effectLst/>
            </a:rPr>
            <a:t>Index path required to serve queries</a:t>
          </a:r>
          <a:endParaRPr lang="en-US" sz="1100" dirty="0"/>
        </a:p>
      </dgm:t>
    </dgm:pt>
    <dgm:pt modelId="{6EADDD94-F216-408B-B339-E91CEB1CD5B4}" type="parTrans" cxnId="{2FA49D8F-C532-4792-9080-E41DEA73E660}">
      <dgm:prSet/>
      <dgm:spPr/>
      <dgm:t>
        <a:bodyPr/>
        <a:lstStyle/>
        <a:p>
          <a:endParaRPr lang="en-US"/>
        </a:p>
      </dgm:t>
    </dgm:pt>
    <dgm:pt modelId="{5C6BC0B5-BEAB-4EEA-AE44-1A564EDE4067}" type="sibTrans" cxnId="{2FA49D8F-C532-4792-9080-E41DEA73E660}">
      <dgm:prSet/>
      <dgm:spPr/>
      <dgm:t>
        <a:bodyPr/>
        <a:lstStyle/>
        <a:p>
          <a:endParaRPr lang="en-US"/>
        </a:p>
      </dgm:t>
    </dgm:pt>
    <dgm:pt modelId="{E0022369-B688-40D0-9D43-53A15808BF31}">
      <dgm:prSet custT="1"/>
      <dgm:spPr/>
      <dgm:t>
        <a:bodyPr anchor="ctr"/>
        <a:lstStyle/>
        <a:p>
          <a:r>
            <a:rPr lang="en-US" sz="1000" u="none" strike="noStrike" dirty="0">
              <a:effectLst/>
            </a:rPr>
            <a:t>SELECT FROM collection </a:t>
          </a:r>
          <a:r>
            <a:rPr lang="en-US" sz="1000" u="none" strike="noStrike" dirty="0">
              <a:solidFill>
                <a:schemeClr val="tx1"/>
              </a:solidFill>
              <a:effectLst/>
            </a:rPr>
            <a:t>c WHERE </a:t>
          </a:r>
          <a:r>
            <a:rPr lang="en-US" sz="1000" u="none" strike="noStrike" dirty="0" err="1">
              <a:solidFill>
                <a:schemeClr val="tx1"/>
              </a:solidFill>
              <a:effectLst/>
            </a:rPr>
            <a:t>c.prop.subprop</a:t>
          </a:r>
          <a:r>
            <a:rPr lang="en-US" sz="1000" u="none" strike="noStrike" dirty="0">
              <a:solidFill>
                <a:schemeClr val="tx1"/>
              </a:solidFill>
              <a:effectLst/>
            </a:rPr>
            <a:t> = "value"</a:t>
          </a:r>
          <a:endParaRPr lang="en-US" sz="1000" dirty="0">
            <a:solidFill>
              <a:schemeClr val="tx1"/>
            </a:solidFill>
          </a:endParaRPr>
        </a:p>
      </dgm:t>
    </dgm:pt>
    <dgm:pt modelId="{802A3983-68C0-4470-BD80-BA4A5A13B8C6}" type="parTrans" cxnId="{206625B3-389B-4C3A-95B7-A54DFF8B2C83}">
      <dgm:prSet/>
      <dgm:spPr/>
      <dgm:t>
        <a:bodyPr/>
        <a:lstStyle/>
        <a:p>
          <a:endParaRPr lang="en-US"/>
        </a:p>
      </dgm:t>
    </dgm:pt>
    <dgm:pt modelId="{BF1B8692-78A3-4F71-955D-A3AAB6CC5ED5}" type="sibTrans" cxnId="{206625B3-389B-4C3A-95B7-A54DFF8B2C83}">
      <dgm:prSet/>
      <dgm:spPr/>
      <dgm:t>
        <a:bodyPr/>
        <a:lstStyle/>
        <a:p>
          <a:endParaRPr lang="en-US"/>
        </a:p>
      </dgm:t>
    </dgm:pt>
    <dgm:pt modelId="{B52021B3-4A8C-4017-8E64-E9840F1DB5E1}">
      <dgm:prSet custT="1"/>
      <dgm:spPr/>
      <dgm:t>
        <a:bodyPr anchor="ctr"/>
        <a:lstStyle/>
        <a:p>
          <a:r>
            <a:rPr lang="en-US" sz="1000" u="none" strike="noStrike" dirty="0">
              <a:solidFill>
                <a:schemeClr val="tx1"/>
              </a:solidFill>
              <a:effectLst/>
            </a:rPr>
            <a:t>SELECT FROM collection c WHERE </a:t>
          </a:r>
          <a:r>
            <a:rPr lang="en-US" sz="1000" u="none" strike="noStrike" dirty="0" err="1">
              <a:solidFill>
                <a:schemeClr val="tx1"/>
              </a:solidFill>
              <a:effectLst/>
            </a:rPr>
            <a:t>c.prop.subprop</a:t>
          </a:r>
          <a:r>
            <a:rPr lang="en-US" sz="1000" u="none" strike="noStrike" dirty="0">
              <a:solidFill>
                <a:schemeClr val="tx1"/>
              </a:solidFill>
              <a:effectLst/>
            </a:rPr>
            <a:t> &gt; 5</a:t>
          </a:r>
          <a:endParaRPr lang="en-US" sz="1000" dirty="0">
            <a:solidFill>
              <a:schemeClr val="tx1"/>
            </a:solidFill>
          </a:endParaRPr>
        </a:p>
      </dgm:t>
    </dgm:pt>
    <dgm:pt modelId="{70C3BBAE-755F-43F2-A7FC-DE36D9E9D614}" type="parTrans" cxnId="{3AEB7408-0546-4DC7-8B9A-BB84B337DDE5}">
      <dgm:prSet/>
      <dgm:spPr/>
      <dgm:t>
        <a:bodyPr/>
        <a:lstStyle/>
        <a:p>
          <a:endParaRPr lang="en-US"/>
        </a:p>
      </dgm:t>
    </dgm:pt>
    <dgm:pt modelId="{D1B0B0B1-02E4-40B0-9BFF-1AA629A6BA0A}" type="sibTrans" cxnId="{3AEB7408-0546-4DC7-8B9A-BB84B337DDE5}">
      <dgm:prSet/>
      <dgm:spPr/>
      <dgm:t>
        <a:bodyPr/>
        <a:lstStyle/>
        <a:p>
          <a:endParaRPr lang="en-US"/>
        </a:p>
      </dgm:t>
    </dgm:pt>
    <dgm:pt modelId="{3100BEE2-C535-4582-A215-1D2516886F06}" type="pres">
      <dgm:prSet presAssocID="{FEDD19FF-1923-4C9F-A542-C635EFAC1455}" presName="Name0" presStyleCnt="0">
        <dgm:presLayoutVars>
          <dgm:dir/>
          <dgm:animLvl val="lvl"/>
          <dgm:resizeHandles val="exact"/>
        </dgm:presLayoutVars>
      </dgm:prSet>
      <dgm:spPr/>
    </dgm:pt>
    <dgm:pt modelId="{D5116CF7-C1B7-44AC-850F-E7603337E7B5}" type="pres">
      <dgm:prSet presAssocID="{14D73F0C-F4F1-441E-A6A5-7AABD80BD89C}" presName="linNode" presStyleCnt="0"/>
      <dgm:spPr/>
    </dgm:pt>
    <dgm:pt modelId="{A54EB73F-D829-42CD-9875-78C78CC24C63}" type="pres">
      <dgm:prSet presAssocID="{14D73F0C-F4F1-441E-A6A5-7AABD80BD89C}" presName="parentText" presStyleLbl="alignNode1" presStyleIdx="0" presStyleCnt="5">
        <dgm:presLayoutVars>
          <dgm:chMax val="1"/>
          <dgm:bulletEnabled/>
        </dgm:presLayoutVars>
      </dgm:prSet>
      <dgm:spPr/>
    </dgm:pt>
    <dgm:pt modelId="{AA3639AB-085C-4428-B65C-A361C96A1BC4}" type="pres">
      <dgm:prSet presAssocID="{14D73F0C-F4F1-441E-A6A5-7AABD80BD89C}" presName="descendantText" presStyleLbl="alignAccFollowNode1" presStyleIdx="0" presStyleCnt="5">
        <dgm:presLayoutVars>
          <dgm:bulletEnabled/>
        </dgm:presLayoutVars>
      </dgm:prSet>
      <dgm:spPr/>
    </dgm:pt>
    <dgm:pt modelId="{19C630B7-3FE5-4178-840B-791339C74C9E}" type="pres">
      <dgm:prSet presAssocID="{12FEE4E8-BC16-4616-8563-FCA5ECF3968F}" presName="sp" presStyleCnt="0"/>
      <dgm:spPr/>
    </dgm:pt>
    <dgm:pt modelId="{9DA99C95-BB14-4A00-848E-9E59DF38520A}" type="pres">
      <dgm:prSet presAssocID="{E9F01767-BDD1-4868-863A-48563B3C7111}" presName="linNode" presStyleCnt="0"/>
      <dgm:spPr/>
    </dgm:pt>
    <dgm:pt modelId="{9419E554-99FB-475C-8266-7F7DB49EC9C3}" type="pres">
      <dgm:prSet presAssocID="{E9F01767-BDD1-4868-863A-48563B3C7111}" presName="parentText" presStyleLbl="alignNode1" presStyleIdx="1" presStyleCnt="5">
        <dgm:presLayoutVars>
          <dgm:chMax val="1"/>
          <dgm:bulletEnabled/>
        </dgm:presLayoutVars>
      </dgm:prSet>
      <dgm:spPr/>
    </dgm:pt>
    <dgm:pt modelId="{C960C195-DC8E-4506-9853-CDED0ECB9FF9}" type="pres">
      <dgm:prSet presAssocID="{E9F01767-BDD1-4868-863A-48563B3C7111}" presName="descendantText" presStyleLbl="alignAccFollowNode1" presStyleIdx="1" presStyleCnt="5">
        <dgm:presLayoutVars>
          <dgm:bulletEnabled/>
        </dgm:presLayoutVars>
      </dgm:prSet>
      <dgm:spPr/>
    </dgm:pt>
    <dgm:pt modelId="{E62A13CF-A120-4D17-BFBD-AC29E513DAAB}" type="pres">
      <dgm:prSet presAssocID="{AED811AF-7855-4F74-B182-9812C41723A5}" presName="sp" presStyleCnt="0"/>
      <dgm:spPr/>
    </dgm:pt>
    <dgm:pt modelId="{8A0F2C5C-59E1-492F-89DE-21E89E277091}" type="pres">
      <dgm:prSet presAssocID="{E7C0F9FE-FFB6-4359-8987-8EBA2EC6947B}" presName="linNode" presStyleCnt="0"/>
      <dgm:spPr/>
    </dgm:pt>
    <dgm:pt modelId="{54D90759-F6CF-4116-BD33-4E54EA9C764F}" type="pres">
      <dgm:prSet presAssocID="{E7C0F9FE-FFB6-4359-8987-8EBA2EC6947B}" presName="parentText" presStyleLbl="alignNode1" presStyleIdx="2" presStyleCnt="5">
        <dgm:presLayoutVars>
          <dgm:chMax val="1"/>
          <dgm:bulletEnabled/>
        </dgm:presLayoutVars>
      </dgm:prSet>
      <dgm:spPr/>
    </dgm:pt>
    <dgm:pt modelId="{BC8A089F-0BD5-42B9-9E0F-750F7FA4B993}" type="pres">
      <dgm:prSet presAssocID="{E7C0F9FE-FFB6-4359-8987-8EBA2EC6947B}" presName="descendantText" presStyleLbl="alignAccFollowNode1" presStyleIdx="2" presStyleCnt="5" custScaleY="95438">
        <dgm:presLayoutVars>
          <dgm:bulletEnabled/>
        </dgm:presLayoutVars>
      </dgm:prSet>
      <dgm:spPr/>
    </dgm:pt>
    <dgm:pt modelId="{60ABB57E-6CDA-4E55-A180-8B4FA7601697}" type="pres">
      <dgm:prSet presAssocID="{4143B97A-D866-4CB6-A546-7294CB38E369}" presName="sp" presStyleCnt="0"/>
      <dgm:spPr/>
    </dgm:pt>
    <dgm:pt modelId="{636BC06A-DFE3-41F1-84FE-654D3B0BAA75}" type="pres">
      <dgm:prSet presAssocID="{C3ED7E78-18B4-4104-81EB-BCAA5C18812D}" presName="linNode" presStyleCnt="0"/>
      <dgm:spPr/>
    </dgm:pt>
    <dgm:pt modelId="{C13F2573-F47C-472F-9D6C-F1F8F687565A}" type="pres">
      <dgm:prSet presAssocID="{C3ED7E78-18B4-4104-81EB-BCAA5C18812D}" presName="parentText" presStyleLbl="alignNode1" presStyleIdx="3" presStyleCnt="5">
        <dgm:presLayoutVars>
          <dgm:chMax val="1"/>
          <dgm:bulletEnabled/>
        </dgm:presLayoutVars>
      </dgm:prSet>
      <dgm:spPr/>
    </dgm:pt>
    <dgm:pt modelId="{BEAD8146-9190-4B97-A2C7-B898FB65C4B0}" type="pres">
      <dgm:prSet presAssocID="{C3ED7E78-18B4-4104-81EB-BCAA5C18812D}" presName="descendantText" presStyleLbl="alignAccFollowNode1" presStyleIdx="3" presStyleCnt="5">
        <dgm:presLayoutVars>
          <dgm:bulletEnabled/>
        </dgm:presLayoutVars>
      </dgm:prSet>
      <dgm:spPr/>
    </dgm:pt>
    <dgm:pt modelId="{A2FC0072-D2D1-460E-9873-7AAEFC7483D0}" type="pres">
      <dgm:prSet presAssocID="{EE32BBFB-DAA7-400A-BE61-697F64B2E8A5}" presName="sp" presStyleCnt="0"/>
      <dgm:spPr/>
    </dgm:pt>
    <dgm:pt modelId="{A132FF44-B098-435A-9C8C-2B0C9A13F371}" type="pres">
      <dgm:prSet presAssocID="{7BFB56A4-A88C-4200-9621-ABC119986259}" presName="linNode" presStyleCnt="0"/>
      <dgm:spPr/>
    </dgm:pt>
    <dgm:pt modelId="{0436D68B-7764-469B-80A1-808BF075ACCE}" type="pres">
      <dgm:prSet presAssocID="{7BFB56A4-A88C-4200-9621-ABC119986259}" presName="parentText" presStyleLbl="alignNode1" presStyleIdx="4" presStyleCnt="5">
        <dgm:presLayoutVars>
          <dgm:chMax val="1"/>
          <dgm:bulletEnabled/>
        </dgm:presLayoutVars>
      </dgm:prSet>
      <dgm:spPr/>
    </dgm:pt>
    <dgm:pt modelId="{F54CED2F-A0C8-4314-8EBB-A6E0C53F5CE4}" type="pres">
      <dgm:prSet presAssocID="{7BFB56A4-A88C-4200-9621-ABC119986259}" presName="descendantText" presStyleLbl="alignAccFollowNode1" presStyleIdx="4" presStyleCnt="5">
        <dgm:presLayoutVars>
          <dgm:bulletEnabled/>
        </dgm:presLayoutVars>
      </dgm:prSet>
      <dgm:spPr/>
    </dgm:pt>
  </dgm:ptLst>
  <dgm:cxnLst>
    <dgm:cxn modelId="{A157A502-92F9-43BD-A036-3FC779422C62}" type="presOf" srcId="{B52021B3-4A8C-4017-8E64-E9840F1DB5E1}" destId="{F54CED2F-A0C8-4314-8EBB-A6E0C53F5CE4}" srcOrd="0" destOrd="2" presId="urn:microsoft.com/office/officeart/2016/7/layout/VerticalSolidActionList"/>
    <dgm:cxn modelId="{3AEB7408-0546-4DC7-8B9A-BB84B337DDE5}" srcId="{89FE835D-5773-46E6-9856-1E3EA0F3CBC4}" destId="{B52021B3-4A8C-4017-8E64-E9840F1DB5E1}" srcOrd="1" destOrd="0" parTransId="{70C3BBAE-755F-43F2-A7FC-DE36D9E9D614}" sibTransId="{D1B0B0B1-02E4-40B0-9BFF-1AA629A6BA0A}"/>
    <dgm:cxn modelId="{0A0BB508-6019-4F90-B213-0E8CC945891D}" type="presOf" srcId="{04D51A7A-BAEE-4470-A7F3-EDD946DCC255}" destId="{BC8A089F-0BD5-42B9-9E0F-750F7FA4B993}" srcOrd="0" destOrd="2" presId="urn:microsoft.com/office/officeart/2016/7/layout/VerticalSolidActionList"/>
    <dgm:cxn modelId="{FAA40A19-6EC3-430C-A049-2CC2B89EFE62}" srcId="{8146ECC7-6704-4E93-8EED-6EDF45986C8B}" destId="{5623EF5B-F205-4193-85DA-42E9A1567FC6}" srcOrd="0" destOrd="0" parTransId="{93B99188-94F5-4B41-A3BB-B20DDBEDAB80}" sibTransId="{2B8EBC92-8DAB-4ECC-8BAC-87A66AB7D910}"/>
    <dgm:cxn modelId="{13739B1C-7680-4FF5-870F-D4AFDE359840}" srcId="{FEDD19FF-1923-4C9F-A542-C635EFAC1455}" destId="{C3ED7E78-18B4-4104-81EB-BCAA5C18812D}" srcOrd="3" destOrd="0" parTransId="{A40D5EFB-B5CE-4C90-AC5F-8E6432F5D601}" sibTransId="{EE32BBFB-DAA7-400A-BE61-697F64B2E8A5}"/>
    <dgm:cxn modelId="{D985F81C-4953-4884-99A4-558E91B9EA04}" srcId="{14D73F0C-F4F1-441E-A6A5-7AABD80BD89C}" destId="{1AE5F899-D8BA-406A-AD4F-9DF3967CBF64}" srcOrd="0" destOrd="0" parTransId="{6DC19342-B5EF-4EBF-A38E-4AB9D20DC5A6}" sibTransId="{533D7BBC-DC19-417A-A6EF-E94C7F6ADB0C}"/>
    <dgm:cxn modelId="{DC672A31-8EC0-4FB9-81F5-B2EA53F6C8AA}" type="presOf" srcId="{576F8F4C-1B18-4F1A-BE32-02DD68C37122}" destId="{C960C195-DC8E-4506-9853-CDED0ECB9FF9}" srcOrd="0" destOrd="1" presId="urn:microsoft.com/office/officeart/2016/7/layout/VerticalSolidActionList"/>
    <dgm:cxn modelId="{EF8FEE3F-EAE8-491E-A651-0C23CC4ABC45}" type="presOf" srcId="{B1571851-E281-48BB-B1C0-407267CF913B}" destId="{C960C195-DC8E-4506-9853-CDED0ECB9FF9}" srcOrd="0" destOrd="2" presId="urn:microsoft.com/office/officeart/2016/7/layout/VerticalSolidActionList"/>
    <dgm:cxn modelId="{A0156263-E17C-456D-AC0C-57E92D3B5941}" srcId="{E9F01767-BDD1-4868-863A-48563B3C7111}" destId="{9DC40C84-FE5E-44FD-B88E-29BC33D99EC8}" srcOrd="0" destOrd="0" parTransId="{6AE658E9-5D7C-4496-95B9-6900F2D6FD45}" sibTransId="{23EED714-9B83-4910-948A-84DA7AFA6B54}"/>
    <dgm:cxn modelId="{5F98E544-1A17-433D-9C2B-B5985F5FF65F}" type="presOf" srcId="{7BFB56A4-A88C-4200-9621-ABC119986259}" destId="{0436D68B-7764-469B-80A1-808BF075ACCE}" srcOrd="0" destOrd="0" presId="urn:microsoft.com/office/officeart/2016/7/layout/VerticalSolidActionList"/>
    <dgm:cxn modelId="{7488216B-1389-4FE5-A286-8EC1D20E75F1}" srcId="{9DC40C84-FE5E-44FD-B88E-29BC33D99EC8}" destId="{B1571851-E281-48BB-B1C0-407267CF913B}" srcOrd="1" destOrd="0" parTransId="{DA17FAAA-060C-457A-9FD8-2A048386F605}" sibTransId="{FA2A2B94-B70E-486A-A4DD-96BEF01C2DC2}"/>
    <dgm:cxn modelId="{F6265E4B-66AF-4774-8822-4014AA0EF619}" srcId="{E7C0F9FE-FFB6-4359-8987-8EBA2EC6947B}" destId="{8146ECC7-6704-4E93-8EED-6EDF45986C8B}" srcOrd="0" destOrd="0" parTransId="{DDE42554-D6B5-4F52-AFC5-3080B0FC0BB6}" sibTransId="{33397BB9-F971-41F4-AA4D-367853AD0AEF}"/>
    <dgm:cxn modelId="{0B4F9D6B-082A-406B-83A4-F0AC3694827F}" type="presOf" srcId="{9DC40C84-FE5E-44FD-B88E-29BC33D99EC8}" destId="{C960C195-DC8E-4506-9853-CDED0ECB9FF9}" srcOrd="0" destOrd="0" presId="urn:microsoft.com/office/officeart/2016/7/layout/VerticalSolidActionList"/>
    <dgm:cxn modelId="{A2BB516C-96AA-4D64-B020-B45FC4A1552B}" type="presOf" srcId="{FEDD19FF-1923-4C9F-A542-C635EFAC1455}" destId="{3100BEE2-C535-4582-A215-1D2516886F06}" srcOrd="0" destOrd="0" presId="urn:microsoft.com/office/officeart/2016/7/layout/VerticalSolidActionList"/>
    <dgm:cxn modelId="{29C49975-55B8-49A1-BBD6-D640E9D21CEF}" srcId="{8146ECC7-6704-4E93-8EED-6EDF45986C8B}" destId="{69F00C13-E921-418B-96FD-F9B1E1681C22}" srcOrd="2" destOrd="0" parTransId="{8EE8AF84-53AB-409E-8F06-4C472144729D}" sibTransId="{E25532D1-A5DE-4E8F-AD21-D4FF54022D30}"/>
    <dgm:cxn modelId="{EE764A56-D1A2-4D14-9F57-B2F8630C6787}" type="presOf" srcId="{8146ECC7-6704-4E93-8EED-6EDF45986C8B}" destId="{BC8A089F-0BD5-42B9-9E0F-750F7FA4B993}" srcOrd="0" destOrd="0" presId="urn:microsoft.com/office/officeart/2016/7/layout/VerticalSolidActionList"/>
    <dgm:cxn modelId="{D1162457-58C7-48F9-BBF5-CEFF3D28351C}" srcId="{9DC40C84-FE5E-44FD-B88E-29BC33D99EC8}" destId="{576F8F4C-1B18-4F1A-BE32-02DD68C37122}" srcOrd="0" destOrd="0" parTransId="{B480E8FC-16A4-4D59-9C91-83786D7F693B}" sibTransId="{CD5BF26F-AB8B-4670-8AEE-538AB91007F2}"/>
    <dgm:cxn modelId="{E6870958-BEFF-49BE-8CF2-C4324396A0A4}" srcId="{9DC40C84-FE5E-44FD-B88E-29BC33D99EC8}" destId="{A3F29EBA-0D2F-4124-B0B5-1DE556D2549C}" srcOrd="2" destOrd="0" parTransId="{B9B98024-AF2C-4A25-85FB-6A95DC2820AE}" sibTransId="{7CC24409-30BF-41B3-A6E4-70AC1F3893C7}"/>
    <dgm:cxn modelId="{7AB5FC79-EC17-48B4-AF29-D6D9AA8BF791}" srcId="{8146ECC7-6704-4E93-8EED-6EDF45986C8B}" destId="{04D51A7A-BAEE-4470-A7F3-EDD946DCC255}" srcOrd="1" destOrd="0" parTransId="{9FEF35DB-67C8-4139-BAC8-8A5F06EFE3B9}" sibTransId="{885AE24E-2A0D-4054-9EAC-D7FE6E2C4988}"/>
    <dgm:cxn modelId="{F334B65A-4E03-43F6-92CB-292B776CBC01}" srcId="{FEDD19FF-1923-4C9F-A542-C635EFAC1455}" destId="{E9F01767-BDD1-4868-863A-48563B3C7111}" srcOrd="1" destOrd="0" parTransId="{532B1E65-AFB9-407D-8010-1A2D0901F5CC}" sibTransId="{AED811AF-7855-4F74-B182-9812C41723A5}"/>
    <dgm:cxn modelId="{783FFF7F-B515-4F53-A4CF-1C5D6BD59969}" type="presOf" srcId="{5623EF5B-F205-4193-85DA-42E9A1567FC6}" destId="{BC8A089F-0BD5-42B9-9E0F-750F7FA4B993}" srcOrd="0" destOrd="1" presId="urn:microsoft.com/office/officeart/2016/7/layout/VerticalSolidActionList"/>
    <dgm:cxn modelId="{99703B83-E89E-463B-9185-700F2BCC8AEE}" type="presOf" srcId="{E0022369-B688-40D0-9D43-53A15808BF31}" destId="{F54CED2F-A0C8-4314-8EBB-A6E0C53F5CE4}" srcOrd="0" destOrd="1" presId="urn:microsoft.com/office/officeart/2016/7/layout/VerticalSolidActionList"/>
    <dgm:cxn modelId="{48EC348B-F35F-4483-9F61-FFAA2DADDFBB}" srcId="{C3ED7E78-18B4-4104-81EB-BCAA5C18812D}" destId="{27620715-7738-4936-B23E-56D7A4E62721}" srcOrd="0" destOrd="0" parTransId="{0DB2E8F5-36DD-44B0-AA74-B861701A3CAD}" sibTransId="{A04B9991-D414-4C23-80B1-A6FB4C80754C}"/>
    <dgm:cxn modelId="{2FA49D8F-C532-4792-9080-E41DEA73E660}" srcId="{7BFB56A4-A88C-4200-9621-ABC119986259}" destId="{89FE835D-5773-46E6-9856-1E3EA0F3CBC4}" srcOrd="0" destOrd="0" parTransId="{6EADDD94-F216-408B-B339-E91CEB1CD5B4}" sibTransId="{5C6BC0B5-BEAB-4EEA-AE44-1A564EDE4067}"/>
    <dgm:cxn modelId="{DA4FDA90-82F4-4C5C-BE7C-166F66C6D09E}" type="presOf" srcId="{74EDBC27-0DCC-45EE-8EE3-458BC722DB6A}" destId="{BEAD8146-9190-4B97-A2C7-B898FB65C4B0}" srcOrd="0" destOrd="1" presId="urn:microsoft.com/office/officeart/2016/7/layout/VerticalSolidActionList"/>
    <dgm:cxn modelId="{12C95191-79A9-40A4-97A1-BBEC26171A97}" type="presOf" srcId="{C3ED7E78-18B4-4104-81EB-BCAA5C18812D}" destId="{C13F2573-F47C-472F-9D6C-F1F8F687565A}" srcOrd="0" destOrd="0" presId="urn:microsoft.com/office/officeart/2016/7/layout/VerticalSolidActionList"/>
    <dgm:cxn modelId="{B1BDC39E-8403-4068-A82E-38726B306D66}" srcId="{FEDD19FF-1923-4C9F-A542-C635EFAC1455}" destId="{E7C0F9FE-FFB6-4359-8987-8EBA2EC6947B}" srcOrd="2" destOrd="0" parTransId="{FAE12DD1-6E55-4FFA-BDF4-09790EFB211F}" sibTransId="{4143B97A-D866-4CB6-A546-7294CB38E369}"/>
    <dgm:cxn modelId="{B4CC6BAA-7216-4DF0-85C3-B57E9B268AB6}" type="presOf" srcId="{E9F01767-BDD1-4868-863A-48563B3C7111}" destId="{9419E554-99FB-475C-8266-7F7DB49EC9C3}" srcOrd="0" destOrd="0" presId="urn:microsoft.com/office/officeart/2016/7/layout/VerticalSolidActionList"/>
    <dgm:cxn modelId="{F86C69AB-9869-47CB-9A09-59AE47157BB8}" srcId="{FEDD19FF-1923-4C9F-A542-C635EFAC1455}" destId="{7BFB56A4-A88C-4200-9621-ABC119986259}" srcOrd="4" destOrd="0" parTransId="{4E5967CF-B609-4734-8978-3F180D9616F9}" sibTransId="{E08F8200-2CC2-4343-B7C3-571959BD2C57}"/>
    <dgm:cxn modelId="{452C39AF-A836-4920-9B36-5EA204B5CAD8}" type="presOf" srcId="{A3F29EBA-0D2F-4124-B0B5-1DE556D2549C}" destId="{C960C195-DC8E-4506-9853-CDED0ECB9FF9}" srcOrd="0" destOrd="3" presId="urn:microsoft.com/office/officeart/2016/7/layout/VerticalSolidActionList"/>
    <dgm:cxn modelId="{6E7C0BB2-738C-4005-A4C9-80563C5485CD}" type="presOf" srcId="{1AE5F899-D8BA-406A-AD4F-9DF3967CBF64}" destId="{AA3639AB-085C-4428-B65C-A361C96A1BC4}" srcOrd="0" destOrd="0" presId="urn:microsoft.com/office/officeart/2016/7/layout/VerticalSolidActionList"/>
    <dgm:cxn modelId="{206625B3-389B-4C3A-95B7-A54DFF8B2C83}" srcId="{89FE835D-5773-46E6-9856-1E3EA0F3CBC4}" destId="{E0022369-B688-40D0-9D43-53A15808BF31}" srcOrd="0" destOrd="0" parTransId="{802A3983-68C0-4470-BD80-BA4A5A13B8C6}" sibTransId="{BF1B8692-78A3-4F71-955D-A3AAB6CC5ED5}"/>
    <dgm:cxn modelId="{3A5CEEB8-5AE0-4BB0-B5C4-74BCE7C07EC0}" srcId="{27620715-7738-4936-B23E-56D7A4E62721}" destId="{6E0A31A8-A4BD-47A4-898A-DD06C7D7988E}" srcOrd="1" destOrd="0" parTransId="{EF563E96-C11B-4943-8035-BD0BC6DB95ED}" sibTransId="{5DF0FED7-4099-465C-BDFF-80C5CCC4CB94}"/>
    <dgm:cxn modelId="{8F3421CB-D7AF-4E48-99D3-F03827988A5D}" srcId="{27620715-7738-4936-B23E-56D7A4E62721}" destId="{74EDBC27-0DCC-45EE-8EE3-458BC722DB6A}" srcOrd="0" destOrd="0" parTransId="{1500CC2E-5FE2-48A2-B04D-5CC1F674542A}" sibTransId="{6DD16BAD-00C1-4908-8107-58CE92EBBF36}"/>
    <dgm:cxn modelId="{32DB02CC-33BD-4790-8B9C-AC987D0DD8F5}" type="presOf" srcId="{14D73F0C-F4F1-441E-A6A5-7AABD80BD89C}" destId="{A54EB73F-D829-42CD-9875-78C78CC24C63}" srcOrd="0" destOrd="0" presId="urn:microsoft.com/office/officeart/2016/7/layout/VerticalSolidActionList"/>
    <dgm:cxn modelId="{2C1273D4-8343-4E78-A66D-889116FB611C}" type="presOf" srcId="{27620715-7738-4936-B23E-56D7A4E62721}" destId="{BEAD8146-9190-4B97-A2C7-B898FB65C4B0}" srcOrd="0" destOrd="0" presId="urn:microsoft.com/office/officeart/2016/7/layout/VerticalSolidActionList"/>
    <dgm:cxn modelId="{010AB2D6-2672-4213-8E3C-FEC9D5B34F66}" srcId="{FEDD19FF-1923-4C9F-A542-C635EFAC1455}" destId="{14D73F0C-F4F1-441E-A6A5-7AABD80BD89C}" srcOrd="0" destOrd="0" parTransId="{DF07B41D-A0D8-4F16-A009-C9FDD1821293}" sibTransId="{12FEE4E8-BC16-4616-8563-FCA5ECF3968F}"/>
    <dgm:cxn modelId="{5E5D86E7-1F29-4BBE-AB07-7A61DFB0E277}" type="presOf" srcId="{69F00C13-E921-418B-96FD-F9B1E1681C22}" destId="{BC8A089F-0BD5-42B9-9E0F-750F7FA4B993}" srcOrd="0" destOrd="3" presId="urn:microsoft.com/office/officeart/2016/7/layout/VerticalSolidActionList"/>
    <dgm:cxn modelId="{FDB6B4F2-DA6F-4877-8591-36DA0BD8F737}" type="presOf" srcId="{89FE835D-5773-46E6-9856-1E3EA0F3CBC4}" destId="{F54CED2F-A0C8-4314-8EBB-A6E0C53F5CE4}" srcOrd="0" destOrd="0" presId="urn:microsoft.com/office/officeart/2016/7/layout/VerticalSolidActionList"/>
    <dgm:cxn modelId="{AB2D30FB-C170-492A-A344-6959F265E271}" type="presOf" srcId="{E7C0F9FE-FFB6-4359-8987-8EBA2EC6947B}" destId="{54D90759-F6CF-4116-BD33-4E54EA9C764F}" srcOrd="0" destOrd="0" presId="urn:microsoft.com/office/officeart/2016/7/layout/VerticalSolidActionList"/>
    <dgm:cxn modelId="{A5113EFC-0B74-4AFF-BF99-81F408B314E4}" type="presOf" srcId="{6E0A31A8-A4BD-47A4-898A-DD06C7D7988E}" destId="{BEAD8146-9190-4B97-A2C7-B898FB65C4B0}" srcOrd="0" destOrd="2" presId="urn:microsoft.com/office/officeart/2016/7/layout/VerticalSolidActionList"/>
    <dgm:cxn modelId="{49E4586B-DDA9-4B01-8C4A-E46B796E3568}" type="presParOf" srcId="{3100BEE2-C535-4582-A215-1D2516886F06}" destId="{D5116CF7-C1B7-44AC-850F-E7603337E7B5}" srcOrd="0" destOrd="0" presId="urn:microsoft.com/office/officeart/2016/7/layout/VerticalSolidActionList"/>
    <dgm:cxn modelId="{754764AC-A405-4099-8034-BD575172CC84}" type="presParOf" srcId="{D5116CF7-C1B7-44AC-850F-E7603337E7B5}" destId="{A54EB73F-D829-42CD-9875-78C78CC24C63}" srcOrd="0" destOrd="0" presId="urn:microsoft.com/office/officeart/2016/7/layout/VerticalSolidActionList"/>
    <dgm:cxn modelId="{CEBA404C-D533-450C-AFB3-0AAC85336E6F}" type="presParOf" srcId="{D5116CF7-C1B7-44AC-850F-E7603337E7B5}" destId="{AA3639AB-085C-4428-B65C-A361C96A1BC4}" srcOrd="1" destOrd="0" presId="urn:microsoft.com/office/officeart/2016/7/layout/VerticalSolidActionList"/>
    <dgm:cxn modelId="{DA3C88B3-E2B7-4C8E-8C07-AEF49439EE2A}" type="presParOf" srcId="{3100BEE2-C535-4582-A215-1D2516886F06}" destId="{19C630B7-3FE5-4178-840B-791339C74C9E}" srcOrd="1" destOrd="0" presId="urn:microsoft.com/office/officeart/2016/7/layout/VerticalSolidActionList"/>
    <dgm:cxn modelId="{4EA1FC95-EAE2-4F0A-96F9-CB32D94CECBE}" type="presParOf" srcId="{3100BEE2-C535-4582-A215-1D2516886F06}" destId="{9DA99C95-BB14-4A00-848E-9E59DF38520A}" srcOrd="2" destOrd="0" presId="urn:microsoft.com/office/officeart/2016/7/layout/VerticalSolidActionList"/>
    <dgm:cxn modelId="{90171F93-8954-4EB2-81F3-2BAF62DFA50B}" type="presParOf" srcId="{9DA99C95-BB14-4A00-848E-9E59DF38520A}" destId="{9419E554-99FB-475C-8266-7F7DB49EC9C3}" srcOrd="0" destOrd="0" presId="urn:microsoft.com/office/officeart/2016/7/layout/VerticalSolidActionList"/>
    <dgm:cxn modelId="{0DDB8D03-2628-4DA2-8DE6-89FE5AC08446}" type="presParOf" srcId="{9DA99C95-BB14-4A00-848E-9E59DF38520A}" destId="{C960C195-DC8E-4506-9853-CDED0ECB9FF9}" srcOrd="1" destOrd="0" presId="urn:microsoft.com/office/officeart/2016/7/layout/VerticalSolidActionList"/>
    <dgm:cxn modelId="{CCE687A7-5705-499F-B7CE-278C24296218}" type="presParOf" srcId="{3100BEE2-C535-4582-A215-1D2516886F06}" destId="{E62A13CF-A120-4D17-BFBD-AC29E513DAAB}" srcOrd="3" destOrd="0" presId="urn:microsoft.com/office/officeart/2016/7/layout/VerticalSolidActionList"/>
    <dgm:cxn modelId="{0919347A-B874-449B-A1DB-D4B0CC609E13}" type="presParOf" srcId="{3100BEE2-C535-4582-A215-1D2516886F06}" destId="{8A0F2C5C-59E1-492F-89DE-21E89E277091}" srcOrd="4" destOrd="0" presId="urn:microsoft.com/office/officeart/2016/7/layout/VerticalSolidActionList"/>
    <dgm:cxn modelId="{313F2D52-AF0C-46A8-91EB-E96CEB8F40D0}" type="presParOf" srcId="{8A0F2C5C-59E1-492F-89DE-21E89E277091}" destId="{54D90759-F6CF-4116-BD33-4E54EA9C764F}" srcOrd="0" destOrd="0" presId="urn:microsoft.com/office/officeart/2016/7/layout/VerticalSolidActionList"/>
    <dgm:cxn modelId="{8AF9D922-E9F7-4370-A0DC-0E268E8A8A11}" type="presParOf" srcId="{8A0F2C5C-59E1-492F-89DE-21E89E277091}" destId="{BC8A089F-0BD5-42B9-9E0F-750F7FA4B993}" srcOrd="1" destOrd="0" presId="urn:microsoft.com/office/officeart/2016/7/layout/VerticalSolidActionList"/>
    <dgm:cxn modelId="{A4A7AA61-BE49-4B1A-AF17-8A69382B40A9}" type="presParOf" srcId="{3100BEE2-C535-4582-A215-1D2516886F06}" destId="{60ABB57E-6CDA-4E55-A180-8B4FA7601697}" srcOrd="5" destOrd="0" presId="urn:microsoft.com/office/officeart/2016/7/layout/VerticalSolidActionList"/>
    <dgm:cxn modelId="{C8A73ED7-767A-4B6D-B9B5-3C35EEECF45D}" type="presParOf" srcId="{3100BEE2-C535-4582-A215-1D2516886F06}" destId="{636BC06A-DFE3-41F1-84FE-654D3B0BAA75}" srcOrd="6" destOrd="0" presId="urn:microsoft.com/office/officeart/2016/7/layout/VerticalSolidActionList"/>
    <dgm:cxn modelId="{0BB26D30-A8ED-4118-A901-51FE77A6896D}" type="presParOf" srcId="{636BC06A-DFE3-41F1-84FE-654D3B0BAA75}" destId="{C13F2573-F47C-472F-9D6C-F1F8F687565A}" srcOrd="0" destOrd="0" presId="urn:microsoft.com/office/officeart/2016/7/layout/VerticalSolidActionList"/>
    <dgm:cxn modelId="{5724F1E8-136B-41C4-80CC-55FC671017D4}" type="presParOf" srcId="{636BC06A-DFE3-41F1-84FE-654D3B0BAA75}" destId="{BEAD8146-9190-4B97-A2C7-B898FB65C4B0}" srcOrd="1" destOrd="0" presId="urn:microsoft.com/office/officeart/2016/7/layout/VerticalSolidActionList"/>
    <dgm:cxn modelId="{39E25F7F-9DBF-4BA1-9560-1A4D049F5764}" type="presParOf" srcId="{3100BEE2-C535-4582-A215-1D2516886F06}" destId="{A2FC0072-D2D1-460E-9873-7AAEFC7483D0}" srcOrd="7" destOrd="0" presId="urn:microsoft.com/office/officeart/2016/7/layout/VerticalSolidActionList"/>
    <dgm:cxn modelId="{018FE58F-7674-4A2F-B91D-E5108E6AC3C1}" type="presParOf" srcId="{3100BEE2-C535-4582-A215-1D2516886F06}" destId="{A132FF44-B098-435A-9C8C-2B0C9A13F371}" srcOrd="8" destOrd="0" presId="urn:microsoft.com/office/officeart/2016/7/layout/VerticalSolidActionList"/>
    <dgm:cxn modelId="{F24AFD15-7F2C-45A8-B6FB-AEFE013CA7F7}" type="presParOf" srcId="{A132FF44-B098-435A-9C8C-2B0C9A13F371}" destId="{0436D68B-7764-469B-80A1-808BF075ACCE}" srcOrd="0" destOrd="0" presId="urn:microsoft.com/office/officeart/2016/7/layout/VerticalSolidActionList"/>
    <dgm:cxn modelId="{C3F03764-749E-44F4-BDDF-748EBD56E501}" type="presParOf" srcId="{A132FF44-B098-435A-9C8C-2B0C9A13F371}" destId="{F54CED2F-A0C8-4314-8EBB-A6E0C53F5CE4}" srcOrd="1" destOrd="0" presId="urn:microsoft.com/office/officeart/2016/7/layout/VerticalSolid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157BD4D-850F-44BF-AD7B-D256D5B200F6}" type="doc">
      <dgm:prSet loTypeId="urn:microsoft.com/office/officeart/2008/layout/LinedList" loCatId="list" qsTypeId="urn:microsoft.com/office/officeart/2005/8/quickstyle/simple4" qsCatId="simple" csTypeId="urn:microsoft.com/office/officeart/2005/8/colors/accent2_2" csCatId="accent2" phldr="1"/>
      <dgm:spPr/>
      <dgm:t>
        <a:bodyPr/>
        <a:lstStyle/>
        <a:p>
          <a:endParaRPr lang="en-US"/>
        </a:p>
      </dgm:t>
    </dgm:pt>
    <dgm:pt modelId="{E71F3E99-F5A0-4050-BD69-268594AB5389}">
      <dgm:prSet custT="1"/>
      <dgm:spPr/>
      <dgm:t>
        <a:bodyPr/>
        <a:lstStyle/>
        <a:p>
          <a:r>
            <a:rPr lang="en-US" sz="3700" dirty="0">
              <a:solidFill>
                <a:schemeClr val="accent3"/>
              </a:solidFill>
            </a:rPr>
            <a:t>/?</a:t>
          </a:r>
          <a:r>
            <a:rPr lang="en-US" sz="3700" dirty="0"/>
            <a:t> </a:t>
          </a:r>
          <a:r>
            <a:rPr lang="en-US" sz="3600" dirty="0"/>
            <a:t>:</a:t>
          </a:r>
          <a:r>
            <a:rPr lang="en-US" sz="3700" dirty="0"/>
            <a:t> </a:t>
          </a:r>
          <a:r>
            <a:rPr lang="en-US" sz="3600" dirty="0"/>
            <a:t>a path leading to a scalar value (string or number) ends with the notation</a:t>
          </a:r>
          <a:r>
            <a:rPr lang="en-US" sz="3700" dirty="0"/>
            <a:t>.</a:t>
          </a:r>
        </a:p>
      </dgm:t>
    </dgm:pt>
    <dgm:pt modelId="{5BD2ACF0-7358-4A40-A19E-765E5BC846A6}" type="parTrans" cxnId="{42941FF3-702D-49F6-B2C7-646A4AD9C9C8}">
      <dgm:prSet/>
      <dgm:spPr/>
      <dgm:t>
        <a:bodyPr/>
        <a:lstStyle/>
        <a:p>
          <a:endParaRPr lang="en-US"/>
        </a:p>
      </dgm:t>
    </dgm:pt>
    <dgm:pt modelId="{9DDA08A2-A55A-4198-BB85-0409C48BE2BC}" type="sibTrans" cxnId="{42941FF3-702D-49F6-B2C7-646A4AD9C9C8}">
      <dgm:prSet/>
      <dgm:spPr/>
      <dgm:t>
        <a:bodyPr/>
        <a:lstStyle/>
        <a:p>
          <a:endParaRPr lang="en-US"/>
        </a:p>
      </dgm:t>
    </dgm:pt>
    <dgm:pt modelId="{932BF40E-3DF4-409A-B234-3E86A26C9723}">
      <dgm:prSet custT="1"/>
      <dgm:spPr/>
      <dgm:t>
        <a:bodyPr/>
        <a:lstStyle/>
        <a:p>
          <a:r>
            <a:rPr lang="en-US" sz="3700" dirty="0">
              <a:solidFill>
                <a:schemeClr val="accent3"/>
              </a:solidFill>
            </a:rPr>
            <a:t>/[] </a:t>
          </a:r>
          <a:r>
            <a:rPr lang="en-US" sz="3600" dirty="0"/>
            <a:t>: elements from an array are addressed together through this notation.  Instead of /0/1,etc.</a:t>
          </a:r>
        </a:p>
      </dgm:t>
    </dgm:pt>
    <dgm:pt modelId="{69694252-7E67-4804-809B-BCE436061E23}" type="parTrans" cxnId="{0D4FBCDC-8936-4CF6-821B-ABC5F5B27695}">
      <dgm:prSet/>
      <dgm:spPr/>
      <dgm:t>
        <a:bodyPr/>
        <a:lstStyle/>
        <a:p>
          <a:endParaRPr lang="en-US"/>
        </a:p>
      </dgm:t>
    </dgm:pt>
    <dgm:pt modelId="{3AB9DC28-DF2C-4131-B05C-F4169DACF599}" type="sibTrans" cxnId="{0D4FBCDC-8936-4CF6-821B-ABC5F5B27695}">
      <dgm:prSet/>
      <dgm:spPr/>
      <dgm:t>
        <a:bodyPr/>
        <a:lstStyle/>
        <a:p>
          <a:endParaRPr lang="en-US"/>
        </a:p>
      </dgm:t>
    </dgm:pt>
    <dgm:pt modelId="{841D1F89-7DEA-481C-8482-1C7E5CB86243}">
      <dgm:prSet custT="1"/>
      <dgm:spPr/>
      <dgm:t>
        <a:bodyPr/>
        <a:lstStyle/>
        <a:p>
          <a:r>
            <a:rPr lang="en-US" sz="3700" dirty="0">
              <a:solidFill>
                <a:schemeClr val="accent3"/>
              </a:solidFill>
            </a:rPr>
            <a:t>/*</a:t>
          </a:r>
          <a:r>
            <a:rPr lang="en-US" sz="3600" dirty="0">
              <a:solidFill>
                <a:schemeClr val="accent3"/>
              </a:solidFill>
            </a:rPr>
            <a:t> </a:t>
          </a:r>
          <a:r>
            <a:rPr lang="en-US" sz="3600" dirty="0"/>
            <a:t>: wildcard can be used to match any elements below the node</a:t>
          </a:r>
        </a:p>
      </dgm:t>
    </dgm:pt>
    <dgm:pt modelId="{F4C75AF0-610C-4451-8DA2-127E1ABD64D7}" type="parTrans" cxnId="{331E7BC4-FACF-4242-B4EC-216777014466}">
      <dgm:prSet/>
      <dgm:spPr/>
      <dgm:t>
        <a:bodyPr/>
        <a:lstStyle/>
        <a:p>
          <a:endParaRPr lang="en-US"/>
        </a:p>
      </dgm:t>
    </dgm:pt>
    <dgm:pt modelId="{7AE2B6B0-E43E-43A7-A44F-17FE06B9C3E1}" type="sibTrans" cxnId="{331E7BC4-FACF-4242-B4EC-216777014466}">
      <dgm:prSet/>
      <dgm:spPr/>
      <dgm:t>
        <a:bodyPr/>
        <a:lstStyle/>
        <a:p>
          <a:endParaRPr lang="en-US"/>
        </a:p>
      </dgm:t>
    </dgm:pt>
    <dgm:pt modelId="{8CE83BD1-B9A1-42F8-9FDF-33540CF42BB4}">
      <dgm:prSet custT="1"/>
      <dgm:spPr/>
      <dgm:t>
        <a:bodyPr/>
        <a:lstStyle/>
        <a:p>
          <a:r>
            <a:rPr lang="en-US" sz="3700" dirty="0">
              <a:solidFill>
                <a:schemeClr val="accent3"/>
              </a:solidFill>
            </a:rPr>
            <a:t>No Indexing </a:t>
          </a:r>
          <a:r>
            <a:rPr lang="en-US" sz="3600" dirty="0">
              <a:solidFill>
                <a:schemeClr val="tx1"/>
              </a:solidFill>
            </a:rPr>
            <a:t>: Will turn off indexing</a:t>
          </a:r>
        </a:p>
      </dgm:t>
    </dgm:pt>
    <dgm:pt modelId="{57C3D363-667A-41B0-97BB-6E05C65A37B2}" type="parTrans" cxnId="{56A2150C-0B06-4EA3-AADC-53794E0EE7FE}">
      <dgm:prSet/>
      <dgm:spPr/>
      <dgm:t>
        <a:bodyPr/>
        <a:lstStyle/>
        <a:p>
          <a:endParaRPr lang="en-US"/>
        </a:p>
      </dgm:t>
    </dgm:pt>
    <dgm:pt modelId="{2B3334AD-A812-4B72-A248-F96D91F2FB0F}" type="sibTrans" cxnId="{56A2150C-0B06-4EA3-AADC-53794E0EE7FE}">
      <dgm:prSet/>
      <dgm:spPr/>
      <dgm:t>
        <a:bodyPr/>
        <a:lstStyle/>
        <a:p>
          <a:endParaRPr lang="en-US"/>
        </a:p>
      </dgm:t>
    </dgm:pt>
    <dgm:pt modelId="{81A6A72C-9AA2-4BDB-99F7-47BCAE22023F}" type="pres">
      <dgm:prSet presAssocID="{D157BD4D-850F-44BF-AD7B-D256D5B200F6}" presName="vert0" presStyleCnt="0">
        <dgm:presLayoutVars>
          <dgm:dir/>
          <dgm:animOne val="branch"/>
          <dgm:animLvl val="lvl"/>
        </dgm:presLayoutVars>
      </dgm:prSet>
      <dgm:spPr/>
    </dgm:pt>
    <dgm:pt modelId="{B3077920-4765-4E95-B41C-1598D0553DE1}" type="pres">
      <dgm:prSet presAssocID="{E71F3E99-F5A0-4050-BD69-268594AB5389}" presName="thickLine" presStyleLbl="alignNode1" presStyleIdx="0" presStyleCnt="4"/>
      <dgm:spPr/>
    </dgm:pt>
    <dgm:pt modelId="{3B4B8655-1C44-4B41-859B-90C56F510656}" type="pres">
      <dgm:prSet presAssocID="{E71F3E99-F5A0-4050-BD69-268594AB5389}" presName="horz1" presStyleCnt="0"/>
      <dgm:spPr/>
    </dgm:pt>
    <dgm:pt modelId="{A90B2BF8-CCBA-4B5E-BF6F-0B1580D2B7B3}" type="pres">
      <dgm:prSet presAssocID="{E71F3E99-F5A0-4050-BD69-268594AB5389}" presName="tx1" presStyleLbl="revTx" presStyleIdx="0" presStyleCnt="4"/>
      <dgm:spPr/>
    </dgm:pt>
    <dgm:pt modelId="{5E3D2A0A-8F11-48AF-9CB6-00C9B70817A8}" type="pres">
      <dgm:prSet presAssocID="{E71F3E99-F5A0-4050-BD69-268594AB5389}" presName="vert1" presStyleCnt="0"/>
      <dgm:spPr/>
    </dgm:pt>
    <dgm:pt modelId="{188C8ADE-C75A-4DFC-8338-29768272EC23}" type="pres">
      <dgm:prSet presAssocID="{932BF40E-3DF4-409A-B234-3E86A26C9723}" presName="thickLine" presStyleLbl="alignNode1" presStyleIdx="1" presStyleCnt="4"/>
      <dgm:spPr/>
    </dgm:pt>
    <dgm:pt modelId="{B631A9AA-D4C4-4E8B-AE10-544FFBB26BFA}" type="pres">
      <dgm:prSet presAssocID="{932BF40E-3DF4-409A-B234-3E86A26C9723}" presName="horz1" presStyleCnt="0"/>
      <dgm:spPr/>
    </dgm:pt>
    <dgm:pt modelId="{D16ACFDC-A7B0-4F89-802F-41151E292550}" type="pres">
      <dgm:prSet presAssocID="{932BF40E-3DF4-409A-B234-3E86A26C9723}" presName="tx1" presStyleLbl="revTx" presStyleIdx="1" presStyleCnt="4"/>
      <dgm:spPr/>
    </dgm:pt>
    <dgm:pt modelId="{A1EDED63-631D-4E7D-9CC6-C6D320BE8D81}" type="pres">
      <dgm:prSet presAssocID="{932BF40E-3DF4-409A-B234-3E86A26C9723}" presName="vert1" presStyleCnt="0"/>
      <dgm:spPr/>
    </dgm:pt>
    <dgm:pt modelId="{B2E2E9EA-E4B8-4488-8ED6-A56DEDB405E7}" type="pres">
      <dgm:prSet presAssocID="{841D1F89-7DEA-481C-8482-1C7E5CB86243}" presName="thickLine" presStyleLbl="alignNode1" presStyleIdx="2" presStyleCnt="4"/>
      <dgm:spPr/>
    </dgm:pt>
    <dgm:pt modelId="{AA985905-F045-4AEB-8619-FCB3D11CC298}" type="pres">
      <dgm:prSet presAssocID="{841D1F89-7DEA-481C-8482-1C7E5CB86243}" presName="horz1" presStyleCnt="0"/>
      <dgm:spPr/>
    </dgm:pt>
    <dgm:pt modelId="{11277980-79C6-4C5F-946D-B005FE409A2F}" type="pres">
      <dgm:prSet presAssocID="{841D1F89-7DEA-481C-8482-1C7E5CB86243}" presName="tx1" presStyleLbl="revTx" presStyleIdx="2" presStyleCnt="4"/>
      <dgm:spPr/>
    </dgm:pt>
    <dgm:pt modelId="{F78C3896-7D41-49F5-94DE-87067928DBAE}" type="pres">
      <dgm:prSet presAssocID="{841D1F89-7DEA-481C-8482-1C7E5CB86243}" presName="vert1" presStyleCnt="0"/>
      <dgm:spPr/>
    </dgm:pt>
    <dgm:pt modelId="{88480A16-31CE-4689-A97C-6D2B78256F67}" type="pres">
      <dgm:prSet presAssocID="{8CE83BD1-B9A1-42F8-9FDF-33540CF42BB4}" presName="thickLine" presStyleLbl="alignNode1" presStyleIdx="3" presStyleCnt="4"/>
      <dgm:spPr/>
    </dgm:pt>
    <dgm:pt modelId="{7735745F-1CB1-444B-9F8A-98E3C3277D10}" type="pres">
      <dgm:prSet presAssocID="{8CE83BD1-B9A1-42F8-9FDF-33540CF42BB4}" presName="horz1" presStyleCnt="0"/>
      <dgm:spPr/>
    </dgm:pt>
    <dgm:pt modelId="{0DD4E467-6AF0-4614-9F8C-C8F54A950FAE}" type="pres">
      <dgm:prSet presAssocID="{8CE83BD1-B9A1-42F8-9FDF-33540CF42BB4}" presName="tx1" presStyleLbl="revTx" presStyleIdx="3" presStyleCnt="4"/>
      <dgm:spPr/>
    </dgm:pt>
    <dgm:pt modelId="{72D5C04D-C62A-4235-8CDD-7A50BC90375B}" type="pres">
      <dgm:prSet presAssocID="{8CE83BD1-B9A1-42F8-9FDF-33540CF42BB4}" presName="vert1" presStyleCnt="0"/>
      <dgm:spPr/>
    </dgm:pt>
  </dgm:ptLst>
  <dgm:cxnLst>
    <dgm:cxn modelId="{56A2150C-0B06-4EA3-AADC-53794E0EE7FE}" srcId="{D157BD4D-850F-44BF-AD7B-D256D5B200F6}" destId="{8CE83BD1-B9A1-42F8-9FDF-33540CF42BB4}" srcOrd="3" destOrd="0" parTransId="{57C3D363-667A-41B0-97BB-6E05C65A37B2}" sibTransId="{2B3334AD-A812-4B72-A248-F96D91F2FB0F}"/>
    <dgm:cxn modelId="{BCFEDA2D-4700-4108-BA3C-098DC373B0E7}" type="presOf" srcId="{8CE83BD1-B9A1-42F8-9FDF-33540CF42BB4}" destId="{0DD4E467-6AF0-4614-9F8C-C8F54A950FAE}" srcOrd="0" destOrd="0" presId="urn:microsoft.com/office/officeart/2008/layout/LinedList"/>
    <dgm:cxn modelId="{8329A832-C1FC-46F2-9837-024E569A66D9}" type="presOf" srcId="{932BF40E-3DF4-409A-B234-3E86A26C9723}" destId="{D16ACFDC-A7B0-4F89-802F-41151E292550}" srcOrd="0" destOrd="0" presId="urn:microsoft.com/office/officeart/2008/layout/LinedList"/>
    <dgm:cxn modelId="{AAFDF637-244E-424B-A472-239FDD7AC6DE}" type="presOf" srcId="{841D1F89-7DEA-481C-8482-1C7E5CB86243}" destId="{11277980-79C6-4C5F-946D-B005FE409A2F}" srcOrd="0" destOrd="0" presId="urn:microsoft.com/office/officeart/2008/layout/LinedList"/>
    <dgm:cxn modelId="{C85ACA46-34E9-45F1-83B7-6199C8291F37}" type="presOf" srcId="{E71F3E99-F5A0-4050-BD69-268594AB5389}" destId="{A90B2BF8-CCBA-4B5E-BF6F-0B1580D2B7B3}" srcOrd="0" destOrd="0" presId="urn:microsoft.com/office/officeart/2008/layout/LinedList"/>
    <dgm:cxn modelId="{331E7BC4-FACF-4242-B4EC-216777014466}" srcId="{D157BD4D-850F-44BF-AD7B-D256D5B200F6}" destId="{841D1F89-7DEA-481C-8482-1C7E5CB86243}" srcOrd="2" destOrd="0" parTransId="{F4C75AF0-610C-4451-8DA2-127E1ABD64D7}" sibTransId="{7AE2B6B0-E43E-43A7-A44F-17FE06B9C3E1}"/>
    <dgm:cxn modelId="{0D4FBCDC-8936-4CF6-821B-ABC5F5B27695}" srcId="{D157BD4D-850F-44BF-AD7B-D256D5B200F6}" destId="{932BF40E-3DF4-409A-B234-3E86A26C9723}" srcOrd="1" destOrd="0" parTransId="{69694252-7E67-4804-809B-BCE436061E23}" sibTransId="{3AB9DC28-DF2C-4131-B05C-F4169DACF599}"/>
    <dgm:cxn modelId="{4F2C2BEE-DBF7-4740-9306-03D928092E79}" type="presOf" srcId="{D157BD4D-850F-44BF-AD7B-D256D5B200F6}" destId="{81A6A72C-9AA2-4BDB-99F7-47BCAE22023F}" srcOrd="0" destOrd="0" presId="urn:microsoft.com/office/officeart/2008/layout/LinedList"/>
    <dgm:cxn modelId="{42941FF3-702D-49F6-B2C7-646A4AD9C9C8}" srcId="{D157BD4D-850F-44BF-AD7B-D256D5B200F6}" destId="{E71F3E99-F5A0-4050-BD69-268594AB5389}" srcOrd="0" destOrd="0" parTransId="{5BD2ACF0-7358-4A40-A19E-765E5BC846A6}" sibTransId="{9DDA08A2-A55A-4198-BB85-0409C48BE2BC}"/>
    <dgm:cxn modelId="{B337E957-8BFC-460C-A0F9-D0148995274E}" type="presParOf" srcId="{81A6A72C-9AA2-4BDB-99F7-47BCAE22023F}" destId="{B3077920-4765-4E95-B41C-1598D0553DE1}" srcOrd="0" destOrd="0" presId="urn:microsoft.com/office/officeart/2008/layout/LinedList"/>
    <dgm:cxn modelId="{41CE985C-E4D0-4381-97C6-DCB5869ABF35}" type="presParOf" srcId="{81A6A72C-9AA2-4BDB-99F7-47BCAE22023F}" destId="{3B4B8655-1C44-4B41-859B-90C56F510656}" srcOrd="1" destOrd="0" presId="urn:microsoft.com/office/officeart/2008/layout/LinedList"/>
    <dgm:cxn modelId="{05A31DA6-D904-4CD8-9149-DFDDFFF29286}" type="presParOf" srcId="{3B4B8655-1C44-4B41-859B-90C56F510656}" destId="{A90B2BF8-CCBA-4B5E-BF6F-0B1580D2B7B3}" srcOrd="0" destOrd="0" presId="urn:microsoft.com/office/officeart/2008/layout/LinedList"/>
    <dgm:cxn modelId="{7BCF87AD-8668-43F9-A7F1-4BF3653BDF24}" type="presParOf" srcId="{3B4B8655-1C44-4B41-859B-90C56F510656}" destId="{5E3D2A0A-8F11-48AF-9CB6-00C9B70817A8}" srcOrd="1" destOrd="0" presId="urn:microsoft.com/office/officeart/2008/layout/LinedList"/>
    <dgm:cxn modelId="{BACF83DD-ADBF-4B82-AE99-77D0CFB77D5D}" type="presParOf" srcId="{81A6A72C-9AA2-4BDB-99F7-47BCAE22023F}" destId="{188C8ADE-C75A-4DFC-8338-29768272EC23}" srcOrd="2" destOrd="0" presId="urn:microsoft.com/office/officeart/2008/layout/LinedList"/>
    <dgm:cxn modelId="{08EA60F9-E0EB-4866-A605-4AF2C658385C}" type="presParOf" srcId="{81A6A72C-9AA2-4BDB-99F7-47BCAE22023F}" destId="{B631A9AA-D4C4-4E8B-AE10-544FFBB26BFA}" srcOrd="3" destOrd="0" presId="urn:microsoft.com/office/officeart/2008/layout/LinedList"/>
    <dgm:cxn modelId="{DC5BB28F-7178-4D55-B189-221FBD5C0F8F}" type="presParOf" srcId="{B631A9AA-D4C4-4E8B-AE10-544FFBB26BFA}" destId="{D16ACFDC-A7B0-4F89-802F-41151E292550}" srcOrd="0" destOrd="0" presId="urn:microsoft.com/office/officeart/2008/layout/LinedList"/>
    <dgm:cxn modelId="{FEA03256-E594-4352-A36A-8880784ED55C}" type="presParOf" srcId="{B631A9AA-D4C4-4E8B-AE10-544FFBB26BFA}" destId="{A1EDED63-631D-4E7D-9CC6-C6D320BE8D81}" srcOrd="1" destOrd="0" presId="urn:microsoft.com/office/officeart/2008/layout/LinedList"/>
    <dgm:cxn modelId="{B8729FF2-7D74-4A44-AAB3-74EFF484119B}" type="presParOf" srcId="{81A6A72C-9AA2-4BDB-99F7-47BCAE22023F}" destId="{B2E2E9EA-E4B8-4488-8ED6-A56DEDB405E7}" srcOrd="4" destOrd="0" presId="urn:microsoft.com/office/officeart/2008/layout/LinedList"/>
    <dgm:cxn modelId="{5F5F23C9-7FB4-4371-8A3F-8276BA24C1F9}" type="presParOf" srcId="{81A6A72C-9AA2-4BDB-99F7-47BCAE22023F}" destId="{AA985905-F045-4AEB-8619-FCB3D11CC298}" srcOrd="5" destOrd="0" presId="urn:microsoft.com/office/officeart/2008/layout/LinedList"/>
    <dgm:cxn modelId="{D996DF0E-FB8B-44CD-9F39-B1B998DB3E39}" type="presParOf" srcId="{AA985905-F045-4AEB-8619-FCB3D11CC298}" destId="{11277980-79C6-4C5F-946D-B005FE409A2F}" srcOrd="0" destOrd="0" presId="urn:microsoft.com/office/officeart/2008/layout/LinedList"/>
    <dgm:cxn modelId="{F4120B2B-EBFC-48D8-B717-BD55B0CFBFFF}" type="presParOf" srcId="{AA985905-F045-4AEB-8619-FCB3D11CC298}" destId="{F78C3896-7D41-49F5-94DE-87067928DBAE}" srcOrd="1" destOrd="0" presId="urn:microsoft.com/office/officeart/2008/layout/LinedList"/>
    <dgm:cxn modelId="{475166BD-BE46-49A9-B7BF-449480F784DF}" type="presParOf" srcId="{81A6A72C-9AA2-4BDB-99F7-47BCAE22023F}" destId="{88480A16-31CE-4689-A97C-6D2B78256F67}" srcOrd="6" destOrd="0" presId="urn:microsoft.com/office/officeart/2008/layout/LinedList"/>
    <dgm:cxn modelId="{FA749032-3A3F-4CA4-9421-38D8F7B52D77}" type="presParOf" srcId="{81A6A72C-9AA2-4BDB-99F7-47BCAE22023F}" destId="{7735745F-1CB1-444B-9F8A-98E3C3277D10}" srcOrd="7" destOrd="0" presId="urn:microsoft.com/office/officeart/2008/layout/LinedList"/>
    <dgm:cxn modelId="{9329D3DF-B3F1-412A-A7F7-9C5389894AA4}" type="presParOf" srcId="{7735745F-1CB1-444B-9F8A-98E3C3277D10}" destId="{0DD4E467-6AF0-4614-9F8C-C8F54A950FAE}" srcOrd="0" destOrd="0" presId="urn:microsoft.com/office/officeart/2008/layout/LinedList"/>
    <dgm:cxn modelId="{96677413-FA66-414F-B605-A6EA310A38F4}" type="presParOf" srcId="{7735745F-1CB1-444B-9F8A-98E3C3277D10}" destId="{72D5C04D-C62A-4235-8CDD-7A50BC90375B}"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76C6770-D6B3-4F20-81F8-BBA6DCB40B3B}" type="doc">
      <dgm:prSet loTypeId="urn:microsoft.com/office/officeart/2005/8/layout/list1" loCatId="list" qsTypeId="urn:microsoft.com/office/officeart/2005/8/quickstyle/simple4" qsCatId="simple" csTypeId="urn:microsoft.com/office/officeart/2005/8/colors/accent2_2" csCatId="accent2"/>
      <dgm:spPr/>
      <dgm:t>
        <a:bodyPr/>
        <a:lstStyle/>
        <a:p>
          <a:endParaRPr lang="en-US"/>
        </a:p>
      </dgm:t>
    </dgm:pt>
    <dgm:pt modelId="{A54B9310-6AC9-4EF8-B744-27D8D62F80EC}">
      <dgm:prSet/>
      <dgm:spPr/>
      <dgm:t>
        <a:bodyPr/>
        <a:lstStyle/>
        <a:p>
          <a:r>
            <a:rPr lang="en-US"/>
            <a:t>Policy can be updated using:</a:t>
          </a:r>
        </a:p>
      </dgm:t>
    </dgm:pt>
    <dgm:pt modelId="{5C99264A-A971-4635-8474-EFE933E0BC57}" type="parTrans" cxnId="{3725E986-7823-423C-AD47-5420D173C881}">
      <dgm:prSet/>
      <dgm:spPr/>
      <dgm:t>
        <a:bodyPr/>
        <a:lstStyle/>
        <a:p>
          <a:endParaRPr lang="en-US"/>
        </a:p>
      </dgm:t>
    </dgm:pt>
    <dgm:pt modelId="{D8307889-8B70-4450-B7FD-025B50BFA3F3}" type="sibTrans" cxnId="{3725E986-7823-423C-AD47-5420D173C881}">
      <dgm:prSet/>
      <dgm:spPr/>
      <dgm:t>
        <a:bodyPr/>
        <a:lstStyle/>
        <a:p>
          <a:endParaRPr lang="en-US"/>
        </a:p>
      </dgm:t>
    </dgm:pt>
    <dgm:pt modelId="{933B5D00-D8E3-495A-9C57-128E4B9A90A8}">
      <dgm:prSet/>
      <dgm:spPr/>
      <dgm:t>
        <a:bodyPr/>
        <a:lstStyle/>
        <a:p>
          <a:r>
            <a:rPr lang="en-US" dirty="0"/>
            <a:t>from the Azure portal</a:t>
          </a:r>
        </a:p>
      </dgm:t>
    </dgm:pt>
    <dgm:pt modelId="{984D5638-AC82-441D-9C0B-7B3CB44C3CF4}" type="parTrans" cxnId="{2F49F4B3-A7B0-467E-A2AA-09BB264CB510}">
      <dgm:prSet/>
      <dgm:spPr/>
      <dgm:t>
        <a:bodyPr/>
        <a:lstStyle/>
        <a:p>
          <a:endParaRPr lang="en-US"/>
        </a:p>
      </dgm:t>
    </dgm:pt>
    <dgm:pt modelId="{18F52E16-5D7E-4B20-B03A-88D35E8629B0}" type="sibTrans" cxnId="{2F49F4B3-A7B0-467E-A2AA-09BB264CB510}">
      <dgm:prSet/>
      <dgm:spPr/>
      <dgm:t>
        <a:bodyPr/>
        <a:lstStyle/>
        <a:p>
          <a:endParaRPr lang="en-US"/>
        </a:p>
      </dgm:t>
    </dgm:pt>
    <dgm:pt modelId="{8521C71B-6405-45B1-B1C1-D7C58DC03623}">
      <dgm:prSet/>
      <dgm:spPr/>
      <dgm:t>
        <a:bodyPr/>
        <a:lstStyle/>
        <a:p>
          <a:r>
            <a:rPr lang="en-US" dirty="0"/>
            <a:t>using the Azure CLI</a:t>
          </a:r>
        </a:p>
      </dgm:t>
    </dgm:pt>
    <dgm:pt modelId="{4564E02A-FEF4-49AC-AAB3-18F80CF1DBA6}" type="parTrans" cxnId="{BD1E5A4D-2314-4934-9CB1-5C039E1C5328}">
      <dgm:prSet/>
      <dgm:spPr/>
      <dgm:t>
        <a:bodyPr/>
        <a:lstStyle/>
        <a:p>
          <a:endParaRPr lang="en-US"/>
        </a:p>
      </dgm:t>
    </dgm:pt>
    <dgm:pt modelId="{5FB19214-7A0D-49B3-AF5D-A3A51F747675}" type="sibTrans" cxnId="{BD1E5A4D-2314-4934-9CB1-5C039E1C5328}">
      <dgm:prSet/>
      <dgm:spPr/>
      <dgm:t>
        <a:bodyPr/>
        <a:lstStyle/>
        <a:p>
          <a:endParaRPr lang="en-US"/>
        </a:p>
      </dgm:t>
    </dgm:pt>
    <dgm:pt modelId="{0E19AFCD-272C-4000-AA9F-A846D059C20C}">
      <dgm:prSet/>
      <dgm:spPr/>
      <dgm:t>
        <a:bodyPr/>
        <a:lstStyle/>
        <a:p>
          <a:r>
            <a:rPr lang="en-US"/>
            <a:t>using PowerShell</a:t>
          </a:r>
        </a:p>
      </dgm:t>
    </dgm:pt>
    <dgm:pt modelId="{61580635-598B-4011-8CC9-FC63F251DA49}" type="parTrans" cxnId="{4FAC89CA-60BB-459B-A165-717EE0ED8508}">
      <dgm:prSet/>
      <dgm:spPr/>
      <dgm:t>
        <a:bodyPr/>
        <a:lstStyle/>
        <a:p>
          <a:endParaRPr lang="en-US"/>
        </a:p>
      </dgm:t>
    </dgm:pt>
    <dgm:pt modelId="{BD425A46-FCB9-47C3-BB9D-3E479EA46284}" type="sibTrans" cxnId="{4FAC89CA-60BB-459B-A165-717EE0ED8508}">
      <dgm:prSet/>
      <dgm:spPr/>
      <dgm:t>
        <a:bodyPr/>
        <a:lstStyle/>
        <a:p>
          <a:endParaRPr lang="en-US"/>
        </a:p>
      </dgm:t>
    </dgm:pt>
    <dgm:pt modelId="{F58F0D4D-8CC8-482E-8D4D-A9EE007BE0E8}">
      <dgm:prSet/>
      <dgm:spPr/>
      <dgm:t>
        <a:bodyPr/>
        <a:lstStyle/>
        <a:p>
          <a:r>
            <a:rPr lang="en-US" dirty="0"/>
            <a:t>using one of the SDKs</a:t>
          </a:r>
        </a:p>
      </dgm:t>
    </dgm:pt>
    <dgm:pt modelId="{CF256FE8-6A51-4D56-A0A2-DCCDB380D109}" type="parTrans" cxnId="{1228B2FA-46E7-453B-B62A-7C657228D58A}">
      <dgm:prSet/>
      <dgm:spPr/>
      <dgm:t>
        <a:bodyPr/>
        <a:lstStyle/>
        <a:p>
          <a:endParaRPr lang="en-US"/>
        </a:p>
      </dgm:t>
    </dgm:pt>
    <dgm:pt modelId="{1842B7A7-6163-45E6-BAE8-95D56B5F7AC3}" type="sibTrans" cxnId="{1228B2FA-46E7-453B-B62A-7C657228D58A}">
      <dgm:prSet/>
      <dgm:spPr/>
      <dgm:t>
        <a:bodyPr/>
        <a:lstStyle/>
        <a:p>
          <a:endParaRPr lang="en-US"/>
        </a:p>
      </dgm:t>
    </dgm:pt>
    <dgm:pt modelId="{324463AE-AD38-4922-91FB-A6BF8A53F8DC}">
      <dgm:prSet/>
      <dgm:spPr/>
      <dgm:t>
        <a:bodyPr/>
        <a:lstStyle/>
        <a:p>
          <a:r>
            <a:rPr lang="en-US" dirty="0"/>
            <a:t>Performed online and in place, no downtime</a:t>
          </a:r>
        </a:p>
      </dgm:t>
    </dgm:pt>
    <dgm:pt modelId="{46A752D5-8EB7-4EC9-AFCD-7F787FF72518}" type="parTrans" cxnId="{BE49B416-2ADE-4FA2-8573-D2D20E4AA038}">
      <dgm:prSet/>
      <dgm:spPr/>
      <dgm:t>
        <a:bodyPr/>
        <a:lstStyle/>
        <a:p>
          <a:endParaRPr lang="en-US"/>
        </a:p>
      </dgm:t>
    </dgm:pt>
    <dgm:pt modelId="{215DC69B-C7A8-44D5-82DF-F5CE1EB167E6}" type="sibTrans" cxnId="{BE49B416-2ADE-4FA2-8573-D2D20E4AA038}">
      <dgm:prSet/>
      <dgm:spPr/>
      <dgm:t>
        <a:bodyPr/>
        <a:lstStyle/>
        <a:p>
          <a:endParaRPr lang="en-US"/>
        </a:p>
      </dgm:t>
    </dgm:pt>
    <dgm:pt modelId="{3B84F3D1-511D-4534-9592-BF77559774BA}">
      <dgm:prSet/>
      <dgm:spPr/>
      <dgm:t>
        <a:bodyPr/>
        <a:lstStyle/>
        <a:p>
          <a:r>
            <a:rPr lang="en-US"/>
            <a:t>Performed asynchronously</a:t>
          </a:r>
        </a:p>
      </dgm:t>
    </dgm:pt>
    <dgm:pt modelId="{A09D4664-3493-4FF5-8CC6-0C0CE38A3778}" type="parTrans" cxnId="{E0F0F301-57E4-4419-B604-41FBE7BDDFC0}">
      <dgm:prSet/>
      <dgm:spPr/>
      <dgm:t>
        <a:bodyPr/>
        <a:lstStyle/>
        <a:p>
          <a:endParaRPr lang="en-US"/>
        </a:p>
      </dgm:t>
    </dgm:pt>
    <dgm:pt modelId="{80F5041D-1C62-4F44-9832-4B4AC8280624}" type="sibTrans" cxnId="{E0F0F301-57E4-4419-B604-41FBE7BDDFC0}">
      <dgm:prSet/>
      <dgm:spPr/>
      <dgm:t>
        <a:bodyPr/>
        <a:lstStyle/>
        <a:p>
          <a:endParaRPr lang="en-US"/>
        </a:p>
      </dgm:t>
    </dgm:pt>
    <dgm:pt modelId="{019CC91F-24E1-442A-978B-82B79876EEE7}">
      <dgm:prSet/>
      <dgm:spPr/>
      <dgm:t>
        <a:bodyPr/>
        <a:lstStyle/>
        <a:p>
          <a:r>
            <a:rPr lang="en-US"/>
            <a:t>Changes made in place, no additional storage consumed</a:t>
          </a:r>
        </a:p>
      </dgm:t>
    </dgm:pt>
    <dgm:pt modelId="{46D24EEE-BFCB-4F51-91B0-95F9FCC0A1E0}" type="parTrans" cxnId="{EC844F0E-010E-4661-A262-75D8FF447D0B}">
      <dgm:prSet/>
      <dgm:spPr/>
      <dgm:t>
        <a:bodyPr/>
        <a:lstStyle/>
        <a:p>
          <a:endParaRPr lang="en-US"/>
        </a:p>
      </dgm:t>
    </dgm:pt>
    <dgm:pt modelId="{0BE4332D-E4BB-41E9-A834-EC2453600328}" type="sibTrans" cxnId="{EC844F0E-010E-4661-A262-75D8FF447D0B}">
      <dgm:prSet/>
      <dgm:spPr/>
      <dgm:t>
        <a:bodyPr/>
        <a:lstStyle/>
        <a:p>
          <a:endParaRPr lang="en-US"/>
        </a:p>
      </dgm:t>
    </dgm:pt>
    <dgm:pt modelId="{962DDA11-2AAC-4C14-830A-F4709F71A5C1}" type="pres">
      <dgm:prSet presAssocID="{876C6770-D6B3-4F20-81F8-BBA6DCB40B3B}" presName="linear" presStyleCnt="0">
        <dgm:presLayoutVars>
          <dgm:dir/>
          <dgm:animLvl val="lvl"/>
          <dgm:resizeHandles val="exact"/>
        </dgm:presLayoutVars>
      </dgm:prSet>
      <dgm:spPr/>
    </dgm:pt>
    <dgm:pt modelId="{C2C06E28-9695-4394-9980-4939459B7394}" type="pres">
      <dgm:prSet presAssocID="{A54B9310-6AC9-4EF8-B744-27D8D62F80EC}" presName="parentLin" presStyleCnt="0"/>
      <dgm:spPr/>
    </dgm:pt>
    <dgm:pt modelId="{CE56C2F1-BBAC-4861-845C-BE8238AC8D4B}" type="pres">
      <dgm:prSet presAssocID="{A54B9310-6AC9-4EF8-B744-27D8D62F80EC}" presName="parentLeftMargin" presStyleLbl="node1" presStyleIdx="0" presStyleCnt="4"/>
      <dgm:spPr/>
    </dgm:pt>
    <dgm:pt modelId="{CEC994F6-1B9B-4787-9A37-FE49E09D201B}" type="pres">
      <dgm:prSet presAssocID="{A54B9310-6AC9-4EF8-B744-27D8D62F80EC}" presName="parentText" presStyleLbl="node1" presStyleIdx="0" presStyleCnt="4">
        <dgm:presLayoutVars>
          <dgm:chMax val="0"/>
          <dgm:bulletEnabled val="1"/>
        </dgm:presLayoutVars>
      </dgm:prSet>
      <dgm:spPr/>
    </dgm:pt>
    <dgm:pt modelId="{D72F6009-0554-469C-B9E1-52FAECE25AC6}" type="pres">
      <dgm:prSet presAssocID="{A54B9310-6AC9-4EF8-B744-27D8D62F80EC}" presName="negativeSpace" presStyleCnt="0"/>
      <dgm:spPr/>
    </dgm:pt>
    <dgm:pt modelId="{790EC1B3-246F-4A69-B427-13AB442AA1E5}" type="pres">
      <dgm:prSet presAssocID="{A54B9310-6AC9-4EF8-B744-27D8D62F80EC}" presName="childText" presStyleLbl="conFgAcc1" presStyleIdx="0" presStyleCnt="4">
        <dgm:presLayoutVars>
          <dgm:bulletEnabled val="1"/>
        </dgm:presLayoutVars>
      </dgm:prSet>
      <dgm:spPr/>
    </dgm:pt>
    <dgm:pt modelId="{02177CE1-A180-4758-8B92-3011BDAD3677}" type="pres">
      <dgm:prSet presAssocID="{D8307889-8B70-4450-B7FD-025B50BFA3F3}" presName="spaceBetweenRectangles" presStyleCnt="0"/>
      <dgm:spPr/>
    </dgm:pt>
    <dgm:pt modelId="{D449B035-6CB2-4E65-B347-9BB705711043}" type="pres">
      <dgm:prSet presAssocID="{324463AE-AD38-4922-91FB-A6BF8A53F8DC}" presName="parentLin" presStyleCnt="0"/>
      <dgm:spPr/>
    </dgm:pt>
    <dgm:pt modelId="{2DBE98EA-86B1-4847-BD8E-F836B144CFD8}" type="pres">
      <dgm:prSet presAssocID="{324463AE-AD38-4922-91FB-A6BF8A53F8DC}" presName="parentLeftMargin" presStyleLbl="node1" presStyleIdx="0" presStyleCnt="4"/>
      <dgm:spPr/>
    </dgm:pt>
    <dgm:pt modelId="{4F55F6F0-1C30-4383-9720-BF14C80DCE7D}" type="pres">
      <dgm:prSet presAssocID="{324463AE-AD38-4922-91FB-A6BF8A53F8DC}" presName="parentText" presStyleLbl="node1" presStyleIdx="1" presStyleCnt="4">
        <dgm:presLayoutVars>
          <dgm:chMax val="0"/>
          <dgm:bulletEnabled val="1"/>
        </dgm:presLayoutVars>
      </dgm:prSet>
      <dgm:spPr/>
    </dgm:pt>
    <dgm:pt modelId="{C9A68AF9-D1C5-466C-89FC-3024862E9D59}" type="pres">
      <dgm:prSet presAssocID="{324463AE-AD38-4922-91FB-A6BF8A53F8DC}" presName="negativeSpace" presStyleCnt="0"/>
      <dgm:spPr/>
    </dgm:pt>
    <dgm:pt modelId="{D6289B61-BEA4-4F45-916F-0BAE50B306DC}" type="pres">
      <dgm:prSet presAssocID="{324463AE-AD38-4922-91FB-A6BF8A53F8DC}" presName="childText" presStyleLbl="conFgAcc1" presStyleIdx="1" presStyleCnt="4">
        <dgm:presLayoutVars>
          <dgm:bulletEnabled val="1"/>
        </dgm:presLayoutVars>
      </dgm:prSet>
      <dgm:spPr/>
    </dgm:pt>
    <dgm:pt modelId="{9998D385-7A23-4B55-936E-46E8EEB39BF1}" type="pres">
      <dgm:prSet presAssocID="{215DC69B-C7A8-44D5-82DF-F5CE1EB167E6}" presName="spaceBetweenRectangles" presStyleCnt="0"/>
      <dgm:spPr/>
    </dgm:pt>
    <dgm:pt modelId="{67094CBC-49E4-49AC-A2FA-E8733A487751}" type="pres">
      <dgm:prSet presAssocID="{3B84F3D1-511D-4534-9592-BF77559774BA}" presName="parentLin" presStyleCnt="0"/>
      <dgm:spPr/>
    </dgm:pt>
    <dgm:pt modelId="{033E7645-B121-4A42-AE1D-E5554EE53CB2}" type="pres">
      <dgm:prSet presAssocID="{3B84F3D1-511D-4534-9592-BF77559774BA}" presName="parentLeftMargin" presStyleLbl="node1" presStyleIdx="1" presStyleCnt="4"/>
      <dgm:spPr/>
    </dgm:pt>
    <dgm:pt modelId="{4AB2564A-8D53-477E-8EB8-41C45F783007}" type="pres">
      <dgm:prSet presAssocID="{3B84F3D1-511D-4534-9592-BF77559774BA}" presName="parentText" presStyleLbl="node1" presStyleIdx="2" presStyleCnt="4">
        <dgm:presLayoutVars>
          <dgm:chMax val="0"/>
          <dgm:bulletEnabled val="1"/>
        </dgm:presLayoutVars>
      </dgm:prSet>
      <dgm:spPr/>
    </dgm:pt>
    <dgm:pt modelId="{04DB5F6E-D634-4075-9315-12EC23DDE107}" type="pres">
      <dgm:prSet presAssocID="{3B84F3D1-511D-4534-9592-BF77559774BA}" presName="negativeSpace" presStyleCnt="0"/>
      <dgm:spPr/>
    </dgm:pt>
    <dgm:pt modelId="{D95F3D31-C4F0-4C10-8600-5C0420D5A783}" type="pres">
      <dgm:prSet presAssocID="{3B84F3D1-511D-4534-9592-BF77559774BA}" presName="childText" presStyleLbl="conFgAcc1" presStyleIdx="2" presStyleCnt="4">
        <dgm:presLayoutVars>
          <dgm:bulletEnabled val="1"/>
        </dgm:presLayoutVars>
      </dgm:prSet>
      <dgm:spPr/>
    </dgm:pt>
    <dgm:pt modelId="{3E5D4EFA-CBBE-4840-A1DB-AA40EEB5A264}" type="pres">
      <dgm:prSet presAssocID="{80F5041D-1C62-4F44-9832-4B4AC8280624}" presName="spaceBetweenRectangles" presStyleCnt="0"/>
      <dgm:spPr/>
    </dgm:pt>
    <dgm:pt modelId="{510DDCE4-E757-4F83-8FC6-EEC5D08B29B3}" type="pres">
      <dgm:prSet presAssocID="{019CC91F-24E1-442A-978B-82B79876EEE7}" presName="parentLin" presStyleCnt="0"/>
      <dgm:spPr/>
    </dgm:pt>
    <dgm:pt modelId="{2FFF3D10-7E5F-45D7-9339-9F450C6A1C03}" type="pres">
      <dgm:prSet presAssocID="{019CC91F-24E1-442A-978B-82B79876EEE7}" presName="parentLeftMargin" presStyleLbl="node1" presStyleIdx="2" presStyleCnt="4"/>
      <dgm:spPr/>
    </dgm:pt>
    <dgm:pt modelId="{45ED2903-0730-4096-A049-24B4F84F74F1}" type="pres">
      <dgm:prSet presAssocID="{019CC91F-24E1-442A-978B-82B79876EEE7}" presName="parentText" presStyleLbl="node1" presStyleIdx="3" presStyleCnt="4">
        <dgm:presLayoutVars>
          <dgm:chMax val="0"/>
          <dgm:bulletEnabled val="1"/>
        </dgm:presLayoutVars>
      </dgm:prSet>
      <dgm:spPr/>
    </dgm:pt>
    <dgm:pt modelId="{ACE0055B-2082-4B6A-ABAC-6647AB406B7E}" type="pres">
      <dgm:prSet presAssocID="{019CC91F-24E1-442A-978B-82B79876EEE7}" presName="negativeSpace" presStyleCnt="0"/>
      <dgm:spPr/>
    </dgm:pt>
    <dgm:pt modelId="{CA262FEB-99AD-4DEB-B2D0-3A09E8BC6D93}" type="pres">
      <dgm:prSet presAssocID="{019CC91F-24E1-442A-978B-82B79876EEE7}" presName="childText" presStyleLbl="conFgAcc1" presStyleIdx="3" presStyleCnt="4">
        <dgm:presLayoutVars>
          <dgm:bulletEnabled val="1"/>
        </dgm:presLayoutVars>
      </dgm:prSet>
      <dgm:spPr/>
    </dgm:pt>
  </dgm:ptLst>
  <dgm:cxnLst>
    <dgm:cxn modelId="{E0F0F301-57E4-4419-B604-41FBE7BDDFC0}" srcId="{876C6770-D6B3-4F20-81F8-BBA6DCB40B3B}" destId="{3B84F3D1-511D-4534-9592-BF77559774BA}" srcOrd="2" destOrd="0" parTransId="{A09D4664-3493-4FF5-8CC6-0C0CE38A3778}" sibTransId="{80F5041D-1C62-4F44-9832-4B4AC8280624}"/>
    <dgm:cxn modelId="{EC844F0E-010E-4661-A262-75D8FF447D0B}" srcId="{876C6770-D6B3-4F20-81F8-BBA6DCB40B3B}" destId="{019CC91F-24E1-442A-978B-82B79876EEE7}" srcOrd="3" destOrd="0" parTransId="{46D24EEE-BFCB-4F51-91B0-95F9FCC0A1E0}" sibTransId="{0BE4332D-E4BB-41E9-A834-EC2453600328}"/>
    <dgm:cxn modelId="{BE49B416-2ADE-4FA2-8573-D2D20E4AA038}" srcId="{876C6770-D6B3-4F20-81F8-BBA6DCB40B3B}" destId="{324463AE-AD38-4922-91FB-A6BF8A53F8DC}" srcOrd="1" destOrd="0" parTransId="{46A752D5-8EB7-4EC9-AFCD-7F787FF72518}" sibTransId="{215DC69B-C7A8-44D5-82DF-F5CE1EB167E6}"/>
    <dgm:cxn modelId="{4CFC3C2F-E1D2-4EFE-B1C6-84053F3A063B}" type="presOf" srcId="{3B84F3D1-511D-4534-9592-BF77559774BA}" destId="{4AB2564A-8D53-477E-8EB8-41C45F783007}" srcOrd="1" destOrd="0" presId="urn:microsoft.com/office/officeart/2005/8/layout/list1"/>
    <dgm:cxn modelId="{63067F40-1682-4860-96E2-82E62025534C}" type="presOf" srcId="{F58F0D4D-8CC8-482E-8D4D-A9EE007BE0E8}" destId="{790EC1B3-246F-4A69-B427-13AB442AA1E5}" srcOrd="0" destOrd="3" presId="urn:microsoft.com/office/officeart/2005/8/layout/list1"/>
    <dgm:cxn modelId="{083A5F62-EB5A-4A84-9AA9-EA4F1F785A35}" type="presOf" srcId="{933B5D00-D8E3-495A-9C57-128E4B9A90A8}" destId="{790EC1B3-246F-4A69-B427-13AB442AA1E5}" srcOrd="0" destOrd="0" presId="urn:microsoft.com/office/officeart/2005/8/layout/list1"/>
    <dgm:cxn modelId="{FAF5884B-4165-482F-A0C2-53D97217DE74}" type="presOf" srcId="{A54B9310-6AC9-4EF8-B744-27D8D62F80EC}" destId="{CE56C2F1-BBAC-4861-845C-BE8238AC8D4B}" srcOrd="0" destOrd="0" presId="urn:microsoft.com/office/officeart/2005/8/layout/list1"/>
    <dgm:cxn modelId="{BD1E5A4D-2314-4934-9CB1-5C039E1C5328}" srcId="{A54B9310-6AC9-4EF8-B744-27D8D62F80EC}" destId="{8521C71B-6405-45B1-B1C1-D7C58DC03623}" srcOrd="1" destOrd="0" parTransId="{4564E02A-FEF4-49AC-AAB3-18F80CF1DBA6}" sibTransId="{5FB19214-7A0D-49B3-AF5D-A3A51F747675}"/>
    <dgm:cxn modelId="{E433DE72-3A02-4DA6-8598-228F45F9BFF0}" type="presOf" srcId="{324463AE-AD38-4922-91FB-A6BF8A53F8DC}" destId="{4F55F6F0-1C30-4383-9720-BF14C80DCE7D}" srcOrd="1" destOrd="0" presId="urn:microsoft.com/office/officeart/2005/8/layout/list1"/>
    <dgm:cxn modelId="{3725E986-7823-423C-AD47-5420D173C881}" srcId="{876C6770-D6B3-4F20-81F8-BBA6DCB40B3B}" destId="{A54B9310-6AC9-4EF8-B744-27D8D62F80EC}" srcOrd="0" destOrd="0" parTransId="{5C99264A-A971-4635-8474-EFE933E0BC57}" sibTransId="{D8307889-8B70-4450-B7FD-025B50BFA3F3}"/>
    <dgm:cxn modelId="{50F7AC8C-5154-4794-A5A6-452CBB47DF86}" type="presOf" srcId="{019CC91F-24E1-442A-978B-82B79876EEE7}" destId="{45ED2903-0730-4096-A049-24B4F84F74F1}" srcOrd="1" destOrd="0" presId="urn:microsoft.com/office/officeart/2005/8/layout/list1"/>
    <dgm:cxn modelId="{B48FE890-7D0A-4F2E-A866-DC3EBFE91F08}" type="presOf" srcId="{876C6770-D6B3-4F20-81F8-BBA6DCB40B3B}" destId="{962DDA11-2AAC-4C14-830A-F4709F71A5C1}" srcOrd="0" destOrd="0" presId="urn:microsoft.com/office/officeart/2005/8/layout/list1"/>
    <dgm:cxn modelId="{0601AE95-9617-4B53-9672-7A0F30942BEA}" type="presOf" srcId="{019CC91F-24E1-442A-978B-82B79876EEE7}" destId="{2FFF3D10-7E5F-45D7-9339-9F450C6A1C03}" srcOrd="0" destOrd="0" presId="urn:microsoft.com/office/officeart/2005/8/layout/list1"/>
    <dgm:cxn modelId="{2F49F4B3-A7B0-467E-A2AA-09BB264CB510}" srcId="{A54B9310-6AC9-4EF8-B744-27D8D62F80EC}" destId="{933B5D00-D8E3-495A-9C57-128E4B9A90A8}" srcOrd="0" destOrd="0" parTransId="{984D5638-AC82-441D-9C0B-7B3CB44C3CF4}" sibTransId="{18F52E16-5D7E-4B20-B03A-88D35E8629B0}"/>
    <dgm:cxn modelId="{37AB5CCA-7757-4E66-873E-33E969324056}" type="presOf" srcId="{8521C71B-6405-45B1-B1C1-D7C58DC03623}" destId="{790EC1B3-246F-4A69-B427-13AB442AA1E5}" srcOrd="0" destOrd="1" presId="urn:microsoft.com/office/officeart/2005/8/layout/list1"/>
    <dgm:cxn modelId="{4FAC89CA-60BB-459B-A165-717EE0ED8508}" srcId="{A54B9310-6AC9-4EF8-B744-27D8D62F80EC}" destId="{0E19AFCD-272C-4000-AA9F-A846D059C20C}" srcOrd="2" destOrd="0" parTransId="{61580635-598B-4011-8CC9-FC63F251DA49}" sibTransId="{BD425A46-FCB9-47C3-BB9D-3E479EA46284}"/>
    <dgm:cxn modelId="{B2B0E4D5-C8FF-4863-B946-F0AAFEAA212F}" type="presOf" srcId="{324463AE-AD38-4922-91FB-A6BF8A53F8DC}" destId="{2DBE98EA-86B1-4847-BD8E-F836B144CFD8}" srcOrd="0" destOrd="0" presId="urn:microsoft.com/office/officeart/2005/8/layout/list1"/>
    <dgm:cxn modelId="{90B3E8D6-70C3-4DCD-8F95-A2D8B99B1A13}" type="presOf" srcId="{A54B9310-6AC9-4EF8-B744-27D8D62F80EC}" destId="{CEC994F6-1B9B-4787-9A37-FE49E09D201B}" srcOrd="1" destOrd="0" presId="urn:microsoft.com/office/officeart/2005/8/layout/list1"/>
    <dgm:cxn modelId="{8AAB68F8-142B-41FD-9583-93DE14DA788B}" type="presOf" srcId="{3B84F3D1-511D-4534-9592-BF77559774BA}" destId="{033E7645-B121-4A42-AE1D-E5554EE53CB2}" srcOrd="0" destOrd="0" presId="urn:microsoft.com/office/officeart/2005/8/layout/list1"/>
    <dgm:cxn modelId="{1228B2FA-46E7-453B-B62A-7C657228D58A}" srcId="{A54B9310-6AC9-4EF8-B744-27D8D62F80EC}" destId="{F58F0D4D-8CC8-482E-8D4D-A9EE007BE0E8}" srcOrd="3" destOrd="0" parTransId="{CF256FE8-6A51-4D56-A0A2-DCCDB380D109}" sibTransId="{1842B7A7-6163-45E6-BAE8-95D56B5F7AC3}"/>
    <dgm:cxn modelId="{BE242AFC-F24A-4C23-A560-F11A346B8408}" type="presOf" srcId="{0E19AFCD-272C-4000-AA9F-A846D059C20C}" destId="{790EC1B3-246F-4A69-B427-13AB442AA1E5}" srcOrd="0" destOrd="2" presId="urn:microsoft.com/office/officeart/2005/8/layout/list1"/>
    <dgm:cxn modelId="{14119398-AF45-4A39-BAF1-0D60C9778A80}" type="presParOf" srcId="{962DDA11-2AAC-4C14-830A-F4709F71A5C1}" destId="{C2C06E28-9695-4394-9980-4939459B7394}" srcOrd="0" destOrd="0" presId="urn:microsoft.com/office/officeart/2005/8/layout/list1"/>
    <dgm:cxn modelId="{11FCB23E-509D-4C41-991F-1A57AECF8C87}" type="presParOf" srcId="{C2C06E28-9695-4394-9980-4939459B7394}" destId="{CE56C2F1-BBAC-4861-845C-BE8238AC8D4B}" srcOrd="0" destOrd="0" presId="urn:microsoft.com/office/officeart/2005/8/layout/list1"/>
    <dgm:cxn modelId="{BEE5BC07-911B-4CEF-B9DB-333100B0991E}" type="presParOf" srcId="{C2C06E28-9695-4394-9980-4939459B7394}" destId="{CEC994F6-1B9B-4787-9A37-FE49E09D201B}" srcOrd="1" destOrd="0" presId="urn:microsoft.com/office/officeart/2005/8/layout/list1"/>
    <dgm:cxn modelId="{A593AFC7-33AC-4EAB-903C-1FE282E224AF}" type="presParOf" srcId="{962DDA11-2AAC-4C14-830A-F4709F71A5C1}" destId="{D72F6009-0554-469C-B9E1-52FAECE25AC6}" srcOrd="1" destOrd="0" presId="urn:microsoft.com/office/officeart/2005/8/layout/list1"/>
    <dgm:cxn modelId="{207F1808-BC6B-44E4-8ADD-563ED60D9B12}" type="presParOf" srcId="{962DDA11-2AAC-4C14-830A-F4709F71A5C1}" destId="{790EC1B3-246F-4A69-B427-13AB442AA1E5}" srcOrd="2" destOrd="0" presId="urn:microsoft.com/office/officeart/2005/8/layout/list1"/>
    <dgm:cxn modelId="{C91B07BB-6B38-4353-B0C2-E34E372E1A2C}" type="presParOf" srcId="{962DDA11-2AAC-4C14-830A-F4709F71A5C1}" destId="{02177CE1-A180-4758-8B92-3011BDAD3677}" srcOrd="3" destOrd="0" presId="urn:microsoft.com/office/officeart/2005/8/layout/list1"/>
    <dgm:cxn modelId="{BEB742B4-420A-4DF8-976C-D073016A343B}" type="presParOf" srcId="{962DDA11-2AAC-4C14-830A-F4709F71A5C1}" destId="{D449B035-6CB2-4E65-B347-9BB705711043}" srcOrd="4" destOrd="0" presId="urn:microsoft.com/office/officeart/2005/8/layout/list1"/>
    <dgm:cxn modelId="{F45A7547-138D-4B86-AE52-DA7A87F869C8}" type="presParOf" srcId="{D449B035-6CB2-4E65-B347-9BB705711043}" destId="{2DBE98EA-86B1-4847-BD8E-F836B144CFD8}" srcOrd="0" destOrd="0" presId="urn:microsoft.com/office/officeart/2005/8/layout/list1"/>
    <dgm:cxn modelId="{C1152792-B345-4D3F-B7A1-E711FAAAAF99}" type="presParOf" srcId="{D449B035-6CB2-4E65-B347-9BB705711043}" destId="{4F55F6F0-1C30-4383-9720-BF14C80DCE7D}" srcOrd="1" destOrd="0" presId="urn:microsoft.com/office/officeart/2005/8/layout/list1"/>
    <dgm:cxn modelId="{A8AC439E-04FF-48BC-A3A2-7EFA3F793F2E}" type="presParOf" srcId="{962DDA11-2AAC-4C14-830A-F4709F71A5C1}" destId="{C9A68AF9-D1C5-466C-89FC-3024862E9D59}" srcOrd="5" destOrd="0" presId="urn:microsoft.com/office/officeart/2005/8/layout/list1"/>
    <dgm:cxn modelId="{A7617FBD-E149-44C7-8A9C-448D54E8E66D}" type="presParOf" srcId="{962DDA11-2AAC-4C14-830A-F4709F71A5C1}" destId="{D6289B61-BEA4-4F45-916F-0BAE50B306DC}" srcOrd="6" destOrd="0" presId="urn:microsoft.com/office/officeart/2005/8/layout/list1"/>
    <dgm:cxn modelId="{7A692F4B-B1E0-4AC2-AA32-D4D48417E340}" type="presParOf" srcId="{962DDA11-2AAC-4C14-830A-F4709F71A5C1}" destId="{9998D385-7A23-4B55-936E-46E8EEB39BF1}" srcOrd="7" destOrd="0" presId="urn:microsoft.com/office/officeart/2005/8/layout/list1"/>
    <dgm:cxn modelId="{DEA9FD41-CE2B-4247-A0ED-8A413BE52BB1}" type="presParOf" srcId="{962DDA11-2AAC-4C14-830A-F4709F71A5C1}" destId="{67094CBC-49E4-49AC-A2FA-E8733A487751}" srcOrd="8" destOrd="0" presId="urn:microsoft.com/office/officeart/2005/8/layout/list1"/>
    <dgm:cxn modelId="{2D12DCBA-DE44-4D99-A754-A6FA38C17A6E}" type="presParOf" srcId="{67094CBC-49E4-49AC-A2FA-E8733A487751}" destId="{033E7645-B121-4A42-AE1D-E5554EE53CB2}" srcOrd="0" destOrd="0" presId="urn:microsoft.com/office/officeart/2005/8/layout/list1"/>
    <dgm:cxn modelId="{EB3A7676-513E-4B33-B0B6-9A9C42F0E80C}" type="presParOf" srcId="{67094CBC-49E4-49AC-A2FA-E8733A487751}" destId="{4AB2564A-8D53-477E-8EB8-41C45F783007}" srcOrd="1" destOrd="0" presId="urn:microsoft.com/office/officeart/2005/8/layout/list1"/>
    <dgm:cxn modelId="{8CFE94DC-5D5D-47F2-812D-722702A1C47C}" type="presParOf" srcId="{962DDA11-2AAC-4C14-830A-F4709F71A5C1}" destId="{04DB5F6E-D634-4075-9315-12EC23DDE107}" srcOrd="9" destOrd="0" presId="urn:microsoft.com/office/officeart/2005/8/layout/list1"/>
    <dgm:cxn modelId="{E06F3C21-2DFA-4EAF-AAC0-EE670A94C23B}" type="presParOf" srcId="{962DDA11-2AAC-4C14-830A-F4709F71A5C1}" destId="{D95F3D31-C4F0-4C10-8600-5C0420D5A783}" srcOrd="10" destOrd="0" presId="urn:microsoft.com/office/officeart/2005/8/layout/list1"/>
    <dgm:cxn modelId="{2A93A32B-7EC5-40AA-AE31-56D52B01F026}" type="presParOf" srcId="{962DDA11-2AAC-4C14-830A-F4709F71A5C1}" destId="{3E5D4EFA-CBBE-4840-A1DB-AA40EEB5A264}" srcOrd="11" destOrd="0" presId="urn:microsoft.com/office/officeart/2005/8/layout/list1"/>
    <dgm:cxn modelId="{0C4F1D91-F696-4030-A5C4-99FE3679546D}" type="presParOf" srcId="{962DDA11-2AAC-4C14-830A-F4709F71A5C1}" destId="{510DDCE4-E757-4F83-8FC6-EEC5D08B29B3}" srcOrd="12" destOrd="0" presId="urn:microsoft.com/office/officeart/2005/8/layout/list1"/>
    <dgm:cxn modelId="{14FF83A6-56E7-420D-9E9C-6F049172ED3D}" type="presParOf" srcId="{510DDCE4-E757-4F83-8FC6-EEC5D08B29B3}" destId="{2FFF3D10-7E5F-45D7-9339-9F450C6A1C03}" srcOrd="0" destOrd="0" presId="urn:microsoft.com/office/officeart/2005/8/layout/list1"/>
    <dgm:cxn modelId="{8A3C2492-AF56-4E8C-9684-2828EB7A1489}" type="presParOf" srcId="{510DDCE4-E757-4F83-8FC6-EEC5D08B29B3}" destId="{45ED2903-0730-4096-A049-24B4F84F74F1}" srcOrd="1" destOrd="0" presId="urn:microsoft.com/office/officeart/2005/8/layout/list1"/>
    <dgm:cxn modelId="{EA8DBC83-D167-477A-A654-1629532B662C}" type="presParOf" srcId="{962DDA11-2AAC-4C14-830A-F4709F71A5C1}" destId="{ACE0055B-2082-4B6A-ABAC-6647AB406B7E}" srcOrd="13" destOrd="0" presId="urn:microsoft.com/office/officeart/2005/8/layout/list1"/>
    <dgm:cxn modelId="{9481F37F-1FBE-42B4-BF80-10A34CE2D449}" type="presParOf" srcId="{962DDA11-2AAC-4C14-830A-F4709F71A5C1}" destId="{CA262FEB-99AD-4DEB-B2D0-3A09E8BC6D93}"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What are the three index kinds? </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What are the three indexing modes?</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Policies can be updated using?</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lt;Question 1&gt;</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lt;Question 2&gt;</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lt;Question 3&g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lt;Question 4&g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lt;Question 5&gt;</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12E38C0C-EC18-408B-9058-5FC4C73C9243}">
      <dgm:prSet/>
      <dgm:spPr/>
      <dgm:t>
        <a:bodyPr/>
        <a:lstStyle/>
        <a:p>
          <a:r>
            <a:rPr lang="en-US" dirty="0"/>
            <a:t>&lt;Question 6&gt;</a:t>
          </a:r>
        </a:p>
      </dgm:t>
    </dgm:pt>
    <dgm:pt modelId="{5B1D466B-353F-4429-81BF-08F5C6D6AAF3}" type="parTrans" cxnId="{20E8294E-F082-42AB-81B8-F97AFB65D5F6}">
      <dgm:prSet/>
      <dgm:spPr/>
      <dgm:t>
        <a:bodyPr/>
        <a:lstStyle/>
        <a:p>
          <a:endParaRPr lang="en-US"/>
        </a:p>
      </dgm:t>
    </dgm:pt>
    <dgm:pt modelId="{7828ECEC-33A1-43B8-B8E8-F86F14AB62D5}" type="sibTrans" cxnId="{20E8294E-F082-42AB-81B8-F97AFB65D5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6">
        <dgm:presLayoutVars>
          <dgm:chMax val="0"/>
          <dgm:bulletEnabled val="1"/>
        </dgm:presLayoutVars>
      </dgm:prSet>
      <dgm:spPr/>
    </dgm:pt>
    <dgm:pt modelId="{F9501E8F-9A32-4697-8780-05DDF13A58FC}" type="pres">
      <dgm:prSet presAssocID="{02FE5F90-4642-4F58-8B51-624750938668}" presName="spacer" presStyleCnt="0"/>
      <dgm:spPr/>
    </dgm:pt>
    <dgm:pt modelId="{5428FA35-71F9-4C21-98D3-3CA4D776F237}" type="pres">
      <dgm:prSet presAssocID="{12E38C0C-EC18-408B-9058-5FC4C73C9243}"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20E8294E-F082-42AB-81B8-F97AFB65D5F6}" srcId="{15A7774C-B622-4F48-8F7B-AF1AAB74E997}" destId="{12E38C0C-EC18-408B-9058-5FC4C73C9243}" srcOrd="5" destOrd="0" parTransId="{5B1D466B-353F-4429-81BF-08F5C6D6AAF3}" sibTransId="{7828ECEC-33A1-43B8-B8E8-F86F14AB62D5}"/>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0B2A11D2-B3B9-4AC5-AEDB-C056FB67096F}" type="presOf" srcId="{12E38C0C-EC18-408B-9058-5FC4C73C9243}" destId="{5428FA35-71F9-4C21-98D3-3CA4D776F237}"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 modelId="{7DB27656-4AA4-48C5-A26A-DBB0BB3C80C5}" type="presParOf" srcId="{97400BD5-14CE-4761-8A6A-64BC46D23158}" destId="{F9501E8F-9A32-4697-8780-05DDF13A58FC}" srcOrd="9" destOrd="0" presId="urn:microsoft.com/office/officeart/2005/8/layout/vList2"/>
    <dgm:cxn modelId="{B3CC762E-2338-4254-A5CE-EAF5E901F9DC}" type="presParOf" srcId="{97400BD5-14CE-4761-8A6A-64BC46D23158}" destId="{5428FA35-71F9-4C21-98D3-3CA4D776F23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lt;Question 1&gt;</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lt;Question 2&gt;</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lt;Question 3&g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lt;Question 4&g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lt;Question 5&gt;</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12E38C0C-EC18-408B-9058-5FC4C73C9243}">
      <dgm:prSet/>
      <dgm:spPr/>
      <dgm:t>
        <a:bodyPr/>
        <a:lstStyle/>
        <a:p>
          <a:r>
            <a:rPr lang="en-US" dirty="0"/>
            <a:t>&lt;Question 6&gt;</a:t>
          </a:r>
        </a:p>
      </dgm:t>
    </dgm:pt>
    <dgm:pt modelId="{5B1D466B-353F-4429-81BF-08F5C6D6AAF3}" type="parTrans" cxnId="{20E8294E-F082-42AB-81B8-F97AFB65D5F6}">
      <dgm:prSet/>
      <dgm:spPr/>
      <dgm:t>
        <a:bodyPr/>
        <a:lstStyle/>
        <a:p>
          <a:endParaRPr lang="en-US"/>
        </a:p>
      </dgm:t>
    </dgm:pt>
    <dgm:pt modelId="{7828ECEC-33A1-43B8-B8E8-F86F14AB62D5}" type="sibTrans" cxnId="{20E8294E-F082-42AB-81B8-F97AFB65D5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6">
        <dgm:presLayoutVars>
          <dgm:chMax val="0"/>
          <dgm:bulletEnabled val="1"/>
        </dgm:presLayoutVars>
      </dgm:prSet>
      <dgm:spPr/>
    </dgm:pt>
    <dgm:pt modelId="{F9501E8F-9A32-4697-8780-05DDF13A58FC}" type="pres">
      <dgm:prSet presAssocID="{02FE5F90-4642-4F58-8B51-624750938668}" presName="spacer" presStyleCnt="0"/>
      <dgm:spPr/>
    </dgm:pt>
    <dgm:pt modelId="{5428FA35-71F9-4C21-98D3-3CA4D776F237}" type="pres">
      <dgm:prSet presAssocID="{12E38C0C-EC18-408B-9058-5FC4C73C9243}"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20E8294E-F082-42AB-81B8-F97AFB65D5F6}" srcId="{15A7774C-B622-4F48-8F7B-AF1AAB74E997}" destId="{12E38C0C-EC18-408B-9058-5FC4C73C9243}" srcOrd="5" destOrd="0" parTransId="{5B1D466B-353F-4429-81BF-08F5C6D6AAF3}" sibTransId="{7828ECEC-33A1-43B8-B8E8-F86F14AB62D5}"/>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0B2A11D2-B3B9-4AC5-AEDB-C056FB67096F}" type="presOf" srcId="{12E38C0C-EC18-408B-9058-5FC4C73C9243}" destId="{5428FA35-71F9-4C21-98D3-3CA4D776F237}"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 modelId="{7DB27656-4AA4-48C5-A26A-DBB0BB3C80C5}" type="presParOf" srcId="{97400BD5-14CE-4761-8A6A-64BC46D23158}" destId="{F9501E8F-9A32-4697-8780-05DDF13A58FC}" srcOrd="9" destOrd="0" presId="urn:microsoft.com/office/officeart/2005/8/layout/vList2"/>
    <dgm:cxn modelId="{B3CC762E-2338-4254-A5CE-EAF5E901F9DC}" type="presParOf" srcId="{97400BD5-14CE-4761-8A6A-64BC46D23158}" destId="{5428FA35-71F9-4C21-98D3-3CA4D776F23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1B17C56-4B90-4B7E-B6AC-DA61CC186B68}" type="doc">
      <dgm:prSet loTypeId="urn:microsoft.com/office/officeart/2005/8/layout/vList2" loCatId="list" qsTypeId="urn:microsoft.com/office/officeart/2005/8/quickstyle/simple4" qsCatId="simple" csTypeId="urn:microsoft.com/office/officeart/2005/8/colors/accent1_2" csCatId="accent1"/>
      <dgm:spPr/>
      <dgm:t>
        <a:bodyPr/>
        <a:lstStyle/>
        <a:p>
          <a:endParaRPr lang="en-US"/>
        </a:p>
      </dgm:t>
    </dgm:pt>
    <dgm:pt modelId="{98E28BA7-21EC-407D-AB53-AEA91A329AEE}">
      <dgm:prSet custT="1"/>
      <dgm:spPr/>
      <dgm:t>
        <a:bodyPr/>
        <a:lstStyle/>
        <a:p>
          <a:r>
            <a:rPr lang="en-US" sz="2400" dirty="0"/>
            <a:t>Based on resources provisioned, not on actual usage</a:t>
          </a:r>
        </a:p>
      </dgm:t>
    </dgm:pt>
    <dgm:pt modelId="{85FFB3C2-68DD-494B-9568-58BDC5BDA8EE}" type="parTrans" cxnId="{F089FB66-71B4-454C-A19F-CFBCBE781E11}">
      <dgm:prSet/>
      <dgm:spPr/>
      <dgm:t>
        <a:bodyPr/>
        <a:lstStyle/>
        <a:p>
          <a:endParaRPr lang="en-US"/>
        </a:p>
      </dgm:t>
    </dgm:pt>
    <dgm:pt modelId="{0A4AFAEB-A6FC-4D75-964C-3377AA2E4254}" type="sibTrans" cxnId="{F089FB66-71B4-454C-A19F-CFBCBE781E11}">
      <dgm:prSet/>
      <dgm:spPr/>
      <dgm:t>
        <a:bodyPr/>
        <a:lstStyle/>
        <a:p>
          <a:endParaRPr lang="en-US"/>
        </a:p>
      </dgm:t>
    </dgm:pt>
    <dgm:pt modelId="{7000AC7F-905C-452E-90E1-1FD3DD0F631F}">
      <dgm:prSet custT="1"/>
      <dgm:spPr/>
      <dgm:t>
        <a:bodyPr/>
        <a:lstStyle/>
        <a:p>
          <a:r>
            <a:rPr lang="en-US" sz="2400" dirty="0"/>
            <a:t>Monitor and manage RU/s to control costs</a:t>
          </a:r>
        </a:p>
      </dgm:t>
    </dgm:pt>
    <dgm:pt modelId="{ADB039A1-1D06-495D-8909-FEC9507172D4}" type="parTrans" cxnId="{CD04D3FD-80D3-46D9-B056-37E57FCDEF49}">
      <dgm:prSet/>
      <dgm:spPr/>
      <dgm:t>
        <a:bodyPr/>
        <a:lstStyle/>
        <a:p>
          <a:endParaRPr lang="en-US"/>
        </a:p>
      </dgm:t>
    </dgm:pt>
    <dgm:pt modelId="{6BBA4F26-CD2E-4E2E-AF91-05C98F7CCCB7}" type="sibTrans" cxnId="{CD04D3FD-80D3-46D9-B056-37E57FCDEF49}">
      <dgm:prSet/>
      <dgm:spPr/>
      <dgm:t>
        <a:bodyPr/>
        <a:lstStyle/>
        <a:p>
          <a:endParaRPr lang="en-US"/>
        </a:p>
      </dgm:t>
    </dgm:pt>
    <dgm:pt modelId="{26E374F7-140A-44CC-8CB0-A5D16CA91F6C}">
      <dgm:prSet custT="1"/>
      <dgm:spPr/>
      <dgm:t>
        <a:bodyPr/>
        <a:lstStyle/>
        <a:p>
          <a:r>
            <a:rPr lang="en-US" sz="2400" dirty="0"/>
            <a:t>RU capacity is elastic and can be instantly scaled via Azure Portal or programmatically to match demand</a:t>
          </a:r>
        </a:p>
      </dgm:t>
    </dgm:pt>
    <dgm:pt modelId="{47F88C49-6E01-4C7A-962F-F73FB0C46DA6}" type="parTrans" cxnId="{BA95653B-995B-4990-AFE0-275BB0495501}">
      <dgm:prSet/>
      <dgm:spPr/>
      <dgm:t>
        <a:bodyPr/>
        <a:lstStyle/>
        <a:p>
          <a:endParaRPr lang="en-US"/>
        </a:p>
      </dgm:t>
    </dgm:pt>
    <dgm:pt modelId="{1F1938CB-06AA-4388-9DE6-8817163823A3}" type="sibTrans" cxnId="{BA95653B-995B-4990-AFE0-275BB0495501}">
      <dgm:prSet/>
      <dgm:spPr/>
      <dgm:t>
        <a:bodyPr/>
        <a:lstStyle/>
        <a:p>
          <a:endParaRPr lang="en-US"/>
        </a:p>
      </dgm:t>
    </dgm:pt>
    <dgm:pt modelId="{EF191288-FCDC-49B7-973B-807FFBFA6FB9}">
      <dgm:prSet custT="1"/>
      <dgm:spPr/>
      <dgm:t>
        <a:bodyPr/>
        <a:lstStyle/>
        <a:p>
          <a:r>
            <a:rPr lang="en-US" sz="2400" dirty="0"/>
            <a:t>Metered hourly</a:t>
          </a:r>
        </a:p>
      </dgm:t>
    </dgm:pt>
    <dgm:pt modelId="{6E12523E-39A0-4E60-9ECF-B287ED2A99F8}" type="parTrans" cxnId="{4674D945-CC0C-48C5-A783-EC6E9652E328}">
      <dgm:prSet/>
      <dgm:spPr/>
      <dgm:t>
        <a:bodyPr/>
        <a:lstStyle/>
        <a:p>
          <a:endParaRPr lang="en-US"/>
        </a:p>
      </dgm:t>
    </dgm:pt>
    <dgm:pt modelId="{B4C0B954-61F3-43CD-9429-429FAB5E5F28}" type="sibTrans" cxnId="{4674D945-CC0C-48C5-A783-EC6E9652E328}">
      <dgm:prSet/>
      <dgm:spPr/>
      <dgm:t>
        <a:bodyPr/>
        <a:lstStyle/>
        <a:p>
          <a:endParaRPr lang="en-US"/>
        </a:p>
      </dgm:t>
    </dgm:pt>
    <dgm:pt modelId="{CC6A3DF6-DF6A-4CAD-8A58-7C695D029D4A}" type="pres">
      <dgm:prSet presAssocID="{D1B17C56-4B90-4B7E-B6AC-DA61CC186B68}" presName="linear" presStyleCnt="0">
        <dgm:presLayoutVars>
          <dgm:animLvl val="lvl"/>
          <dgm:resizeHandles val="exact"/>
        </dgm:presLayoutVars>
      </dgm:prSet>
      <dgm:spPr/>
    </dgm:pt>
    <dgm:pt modelId="{2ADC5E18-6FDA-4F81-AFE1-C436E78CEED3}" type="pres">
      <dgm:prSet presAssocID="{98E28BA7-21EC-407D-AB53-AEA91A329AEE}" presName="parentText" presStyleLbl="node1" presStyleIdx="0" presStyleCnt="4">
        <dgm:presLayoutVars>
          <dgm:chMax val="0"/>
          <dgm:bulletEnabled val="1"/>
        </dgm:presLayoutVars>
      </dgm:prSet>
      <dgm:spPr/>
    </dgm:pt>
    <dgm:pt modelId="{AF505D90-3FB4-4873-9B03-B76DE6B41E89}" type="pres">
      <dgm:prSet presAssocID="{0A4AFAEB-A6FC-4D75-964C-3377AA2E4254}" presName="spacer" presStyleCnt="0"/>
      <dgm:spPr/>
    </dgm:pt>
    <dgm:pt modelId="{84B4B9A8-6A87-438F-AEBB-B44A561ADA5F}" type="pres">
      <dgm:prSet presAssocID="{7000AC7F-905C-452E-90E1-1FD3DD0F631F}" presName="parentText" presStyleLbl="node1" presStyleIdx="1" presStyleCnt="4">
        <dgm:presLayoutVars>
          <dgm:chMax val="0"/>
          <dgm:bulletEnabled val="1"/>
        </dgm:presLayoutVars>
      </dgm:prSet>
      <dgm:spPr/>
    </dgm:pt>
    <dgm:pt modelId="{232885F4-13EB-4AC1-BC42-AA2DF824F4FF}" type="pres">
      <dgm:prSet presAssocID="{6BBA4F26-CD2E-4E2E-AF91-05C98F7CCCB7}" presName="spacer" presStyleCnt="0"/>
      <dgm:spPr/>
    </dgm:pt>
    <dgm:pt modelId="{7C1C33C1-B8D1-4A00-8B98-5DBB6AA1B80F}" type="pres">
      <dgm:prSet presAssocID="{26E374F7-140A-44CC-8CB0-A5D16CA91F6C}" presName="parentText" presStyleLbl="node1" presStyleIdx="2" presStyleCnt="4">
        <dgm:presLayoutVars>
          <dgm:chMax val="0"/>
          <dgm:bulletEnabled val="1"/>
        </dgm:presLayoutVars>
      </dgm:prSet>
      <dgm:spPr/>
    </dgm:pt>
    <dgm:pt modelId="{61D20110-7838-48FC-9372-88ECDB98669D}" type="pres">
      <dgm:prSet presAssocID="{1F1938CB-06AA-4388-9DE6-8817163823A3}" presName="spacer" presStyleCnt="0"/>
      <dgm:spPr/>
    </dgm:pt>
    <dgm:pt modelId="{923C41F0-4AD3-4B47-9814-D53ACC724F1F}" type="pres">
      <dgm:prSet presAssocID="{EF191288-FCDC-49B7-973B-807FFBFA6FB9}" presName="parentText" presStyleLbl="node1" presStyleIdx="3" presStyleCnt="4">
        <dgm:presLayoutVars>
          <dgm:chMax val="0"/>
          <dgm:bulletEnabled val="1"/>
        </dgm:presLayoutVars>
      </dgm:prSet>
      <dgm:spPr/>
    </dgm:pt>
  </dgm:ptLst>
  <dgm:cxnLst>
    <dgm:cxn modelId="{29571805-E652-4BFD-91BD-2F44CC0C80B1}" type="presOf" srcId="{EF191288-FCDC-49B7-973B-807FFBFA6FB9}" destId="{923C41F0-4AD3-4B47-9814-D53ACC724F1F}" srcOrd="0" destOrd="0" presId="urn:microsoft.com/office/officeart/2005/8/layout/vList2"/>
    <dgm:cxn modelId="{BA95653B-995B-4990-AFE0-275BB0495501}" srcId="{D1B17C56-4B90-4B7E-B6AC-DA61CC186B68}" destId="{26E374F7-140A-44CC-8CB0-A5D16CA91F6C}" srcOrd="2" destOrd="0" parTransId="{47F88C49-6E01-4C7A-962F-F73FB0C46DA6}" sibTransId="{1F1938CB-06AA-4388-9DE6-8817163823A3}"/>
    <dgm:cxn modelId="{4674D945-CC0C-48C5-A783-EC6E9652E328}" srcId="{D1B17C56-4B90-4B7E-B6AC-DA61CC186B68}" destId="{EF191288-FCDC-49B7-973B-807FFBFA6FB9}" srcOrd="3" destOrd="0" parTransId="{6E12523E-39A0-4E60-9ECF-B287ED2A99F8}" sibTransId="{B4C0B954-61F3-43CD-9429-429FAB5E5F28}"/>
    <dgm:cxn modelId="{F089FB66-71B4-454C-A19F-CFBCBE781E11}" srcId="{D1B17C56-4B90-4B7E-B6AC-DA61CC186B68}" destId="{98E28BA7-21EC-407D-AB53-AEA91A329AEE}" srcOrd="0" destOrd="0" parTransId="{85FFB3C2-68DD-494B-9568-58BDC5BDA8EE}" sibTransId="{0A4AFAEB-A6FC-4D75-964C-3377AA2E4254}"/>
    <dgm:cxn modelId="{6E051BA0-D58B-4F73-ACF8-3B1F3BEE00A6}" type="presOf" srcId="{7000AC7F-905C-452E-90E1-1FD3DD0F631F}" destId="{84B4B9A8-6A87-438F-AEBB-B44A561ADA5F}" srcOrd="0" destOrd="0" presId="urn:microsoft.com/office/officeart/2005/8/layout/vList2"/>
    <dgm:cxn modelId="{E5636CC5-5CC1-4DA3-B458-5F5B8B9F3FAC}" type="presOf" srcId="{98E28BA7-21EC-407D-AB53-AEA91A329AEE}" destId="{2ADC5E18-6FDA-4F81-AFE1-C436E78CEED3}" srcOrd="0" destOrd="0" presId="urn:microsoft.com/office/officeart/2005/8/layout/vList2"/>
    <dgm:cxn modelId="{717883D5-7AD9-4BEB-BB95-E9B5BE3D284E}" type="presOf" srcId="{D1B17C56-4B90-4B7E-B6AC-DA61CC186B68}" destId="{CC6A3DF6-DF6A-4CAD-8A58-7C695D029D4A}" srcOrd="0" destOrd="0" presId="urn:microsoft.com/office/officeart/2005/8/layout/vList2"/>
    <dgm:cxn modelId="{88C4CCE7-557B-4990-B0C8-42FA4C154D2A}" type="presOf" srcId="{26E374F7-140A-44CC-8CB0-A5D16CA91F6C}" destId="{7C1C33C1-B8D1-4A00-8B98-5DBB6AA1B80F}" srcOrd="0" destOrd="0" presId="urn:microsoft.com/office/officeart/2005/8/layout/vList2"/>
    <dgm:cxn modelId="{CD04D3FD-80D3-46D9-B056-37E57FCDEF49}" srcId="{D1B17C56-4B90-4B7E-B6AC-DA61CC186B68}" destId="{7000AC7F-905C-452E-90E1-1FD3DD0F631F}" srcOrd="1" destOrd="0" parTransId="{ADB039A1-1D06-495D-8909-FEC9507172D4}" sibTransId="{6BBA4F26-CD2E-4E2E-AF91-05C98F7CCCB7}"/>
    <dgm:cxn modelId="{7EC37F29-33A0-4175-A00A-67A7C77ADBE1}" type="presParOf" srcId="{CC6A3DF6-DF6A-4CAD-8A58-7C695D029D4A}" destId="{2ADC5E18-6FDA-4F81-AFE1-C436E78CEED3}" srcOrd="0" destOrd="0" presId="urn:microsoft.com/office/officeart/2005/8/layout/vList2"/>
    <dgm:cxn modelId="{5EF576A0-F01B-49BD-9C13-1C123A9E9486}" type="presParOf" srcId="{CC6A3DF6-DF6A-4CAD-8A58-7C695D029D4A}" destId="{AF505D90-3FB4-4873-9B03-B76DE6B41E89}" srcOrd="1" destOrd="0" presId="urn:microsoft.com/office/officeart/2005/8/layout/vList2"/>
    <dgm:cxn modelId="{F9E72548-66DB-4BF0-A829-A5FC6778D6A1}" type="presParOf" srcId="{CC6A3DF6-DF6A-4CAD-8A58-7C695D029D4A}" destId="{84B4B9A8-6A87-438F-AEBB-B44A561ADA5F}" srcOrd="2" destOrd="0" presId="urn:microsoft.com/office/officeart/2005/8/layout/vList2"/>
    <dgm:cxn modelId="{8B4EE1E0-D04D-43E6-A98D-2131640E4F8F}" type="presParOf" srcId="{CC6A3DF6-DF6A-4CAD-8A58-7C695D029D4A}" destId="{232885F4-13EB-4AC1-BC42-AA2DF824F4FF}" srcOrd="3" destOrd="0" presId="urn:microsoft.com/office/officeart/2005/8/layout/vList2"/>
    <dgm:cxn modelId="{B0987816-1526-45D4-BEA7-46BCBE150FF6}" type="presParOf" srcId="{CC6A3DF6-DF6A-4CAD-8A58-7C695D029D4A}" destId="{7C1C33C1-B8D1-4A00-8B98-5DBB6AA1B80F}" srcOrd="4" destOrd="0" presId="urn:microsoft.com/office/officeart/2005/8/layout/vList2"/>
    <dgm:cxn modelId="{7DB2098F-8CF3-4D22-964E-18D811B115CD}" type="presParOf" srcId="{CC6A3DF6-DF6A-4CAD-8A58-7C695D029D4A}" destId="{61D20110-7838-48FC-9372-88ECDB98669D}" srcOrd="5" destOrd="0" presId="urn:microsoft.com/office/officeart/2005/8/layout/vList2"/>
    <dgm:cxn modelId="{918FCF87-6290-4512-9304-C005246505C6}" type="presParOf" srcId="{CC6A3DF6-DF6A-4CAD-8A58-7C695D029D4A}" destId="{923C41F0-4AD3-4B47-9814-D53ACC724F1F}"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256BE7-14D3-41A5-BF56-7724FA7FFF9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4FE22CAB-1622-4778-AAA8-0E7E58DBC8BC}">
      <dgm:prSet/>
      <dgm:spPr/>
      <dgm:t>
        <a:bodyPr/>
        <a:lstStyle/>
        <a:p>
          <a:r>
            <a:rPr lang="en-US" dirty="0"/>
            <a:t>Helps you save money by committing to a reservation for Azure Cosmos DB resources for either one year or three years.</a:t>
          </a:r>
        </a:p>
      </dgm:t>
    </dgm:pt>
    <dgm:pt modelId="{876FD1A3-CDA2-4BE3-92B6-729FD587B5ED}" type="parTrans" cxnId="{B8D3A366-EC8A-4745-8D7A-D53E33B4BA69}">
      <dgm:prSet/>
      <dgm:spPr/>
      <dgm:t>
        <a:bodyPr/>
        <a:lstStyle/>
        <a:p>
          <a:endParaRPr lang="en-US"/>
        </a:p>
      </dgm:t>
    </dgm:pt>
    <dgm:pt modelId="{E30B1C3A-66E4-4923-8DA9-06AE144A4E05}" type="sibTrans" cxnId="{B8D3A366-EC8A-4745-8D7A-D53E33B4BA69}">
      <dgm:prSet/>
      <dgm:spPr/>
      <dgm:t>
        <a:bodyPr/>
        <a:lstStyle/>
        <a:p>
          <a:endParaRPr lang="en-US"/>
        </a:p>
      </dgm:t>
    </dgm:pt>
    <dgm:pt modelId="{79FA044C-CE93-40D7-B49F-2BFC873BDA6E}">
      <dgm:prSet/>
      <dgm:spPr/>
      <dgm:t>
        <a:bodyPr/>
        <a:lstStyle/>
        <a:p>
          <a:r>
            <a:rPr lang="en-US" dirty="0"/>
            <a:t>You can get a discount on the throughput provisioned for Cosmos DB resources. Examples of resources are databases and containers (tables, collections, and graphs).</a:t>
          </a:r>
        </a:p>
      </dgm:t>
    </dgm:pt>
    <dgm:pt modelId="{048AB7D7-A851-4D2D-AA7D-CA19020AD5B1}" type="parTrans" cxnId="{DA295E63-5B85-43D7-A804-4E910B0BB518}">
      <dgm:prSet/>
      <dgm:spPr/>
      <dgm:t>
        <a:bodyPr/>
        <a:lstStyle/>
        <a:p>
          <a:endParaRPr lang="en-US"/>
        </a:p>
      </dgm:t>
    </dgm:pt>
    <dgm:pt modelId="{B92FAD77-F610-42FD-BFEF-13A03435C39E}" type="sibTrans" cxnId="{DA295E63-5B85-43D7-A804-4E910B0BB518}">
      <dgm:prSet/>
      <dgm:spPr/>
      <dgm:t>
        <a:bodyPr/>
        <a:lstStyle/>
        <a:p>
          <a:endParaRPr lang="en-US"/>
        </a:p>
      </dgm:t>
    </dgm:pt>
    <dgm:pt modelId="{B276F7BC-1DBE-4661-B946-A308ECB2A369}">
      <dgm:prSet/>
      <dgm:spPr/>
      <dgm:t>
        <a:bodyPr/>
        <a:lstStyle/>
        <a:p>
          <a:r>
            <a:rPr lang="en-US" b="0" i="0" dirty="0"/>
            <a:t>Size of the reservation should be based on the total amount of throughput that the existing or soon-to-be-deployed Azure Cosmos DB resources will use</a:t>
          </a:r>
          <a:endParaRPr lang="en-US" dirty="0"/>
        </a:p>
      </dgm:t>
    </dgm:pt>
    <dgm:pt modelId="{485E2D91-1504-4F4F-83EF-BE1B470C2AAA}" type="parTrans" cxnId="{70A050A5-FF6C-418F-B304-275B2D7DD8E2}">
      <dgm:prSet/>
      <dgm:spPr/>
      <dgm:t>
        <a:bodyPr/>
        <a:lstStyle/>
        <a:p>
          <a:endParaRPr lang="en-US"/>
        </a:p>
      </dgm:t>
    </dgm:pt>
    <dgm:pt modelId="{2DDCD2B4-917E-4509-8463-C4264942B076}" type="sibTrans" cxnId="{70A050A5-FF6C-418F-B304-275B2D7DD8E2}">
      <dgm:prSet/>
      <dgm:spPr/>
      <dgm:t>
        <a:bodyPr/>
        <a:lstStyle/>
        <a:p>
          <a:endParaRPr lang="en-US"/>
        </a:p>
      </dgm:t>
    </dgm:pt>
    <dgm:pt modelId="{83E3F057-222F-4239-B9A3-4DE313796027}" type="pres">
      <dgm:prSet presAssocID="{5A256BE7-14D3-41A5-BF56-7724FA7FFF93}" presName="hierChild1" presStyleCnt="0">
        <dgm:presLayoutVars>
          <dgm:chPref val="1"/>
          <dgm:dir/>
          <dgm:animOne val="branch"/>
          <dgm:animLvl val="lvl"/>
          <dgm:resizeHandles/>
        </dgm:presLayoutVars>
      </dgm:prSet>
      <dgm:spPr/>
    </dgm:pt>
    <dgm:pt modelId="{DB312C02-3574-4539-9E61-2CEB9E7E3BCC}" type="pres">
      <dgm:prSet presAssocID="{4FE22CAB-1622-4778-AAA8-0E7E58DBC8BC}" presName="hierRoot1" presStyleCnt="0"/>
      <dgm:spPr/>
    </dgm:pt>
    <dgm:pt modelId="{B6BD38D3-45B7-453D-8D7E-AFC924B382E3}" type="pres">
      <dgm:prSet presAssocID="{4FE22CAB-1622-4778-AAA8-0E7E58DBC8BC}" presName="composite" presStyleCnt="0"/>
      <dgm:spPr/>
    </dgm:pt>
    <dgm:pt modelId="{BAC0D9A2-567D-4FCD-8E76-A756DE2EB35D}" type="pres">
      <dgm:prSet presAssocID="{4FE22CAB-1622-4778-AAA8-0E7E58DBC8BC}" presName="background" presStyleLbl="node0" presStyleIdx="0" presStyleCnt="3"/>
      <dgm:spPr/>
    </dgm:pt>
    <dgm:pt modelId="{BE8C2F02-1A0B-4802-BC5B-2BEE649D04D9}" type="pres">
      <dgm:prSet presAssocID="{4FE22CAB-1622-4778-AAA8-0E7E58DBC8BC}" presName="text" presStyleLbl="fgAcc0" presStyleIdx="0" presStyleCnt="3">
        <dgm:presLayoutVars>
          <dgm:chPref val="3"/>
        </dgm:presLayoutVars>
      </dgm:prSet>
      <dgm:spPr/>
    </dgm:pt>
    <dgm:pt modelId="{9C2ABB68-1473-43A4-B33D-8A023AB6F000}" type="pres">
      <dgm:prSet presAssocID="{4FE22CAB-1622-4778-AAA8-0E7E58DBC8BC}" presName="hierChild2" presStyleCnt="0"/>
      <dgm:spPr/>
    </dgm:pt>
    <dgm:pt modelId="{F9268AC5-D762-400B-91DF-AF59567C0760}" type="pres">
      <dgm:prSet presAssocID="{79FA044C-CE93-40D7-B49F-2BFC873BDA6E}" presName="hierRoot1" presStyleCnt="0"/>
      <dgm:spPr/>
    </dgm:pt>
    <dgm:pt modelId="{6A3FE964-8312-429B-A0B5-30E216E018A4}" type="pres">
      <dgm:prSet presAssocID="{79FA044C-CE93-40D7-B49F-2BFC873BDA6E}" presName="composite" presStyleCnt="0"/>
      <dgm:spPr/>
    </dgm:pt>
    <dgm:pt modelId="{FAC81962-7D85-4FDB-A08D-FBA341873154}" type="pres">
      <dgm:prSet presAssocID="{79FA044C-CE93-40D7-B49F-2BFC873BDA6E}" presName="background" presStyleLbl="node0" presStyleIdx="1" presStyleCnt="3"/>
      <dgm:spPr/>
    </dgm:pt>
    <dgm:pt modelId="{9189EE16-185A-4B65-88FA-D04668C40987}" type="pres">
      <dgm:prSet presAssocID="{79FA044C-CE93-40D7-B49F-2BFC873BDA6E}" presName="text" presStyleLbl="fgAcc0" presStyleIdx="1" presStyleCnt="3">
        <dgm:presLayoutVars>
          <dgm:chPref val="3"/>
        </dgm:presLayoutVars>
      </dgm:prSet>
      <dgm:spPr/>
    </dgm:pt>
    <dgm:pt modelId="{43DCE811-9C80-45EB-9F85-1A1A044B6A36}" type="pres">
      <dgm:prSet presAssocID="{79FA044C-CE93-40D7-B49F-2BFC873BDA6E}" presName="hierChild2" presStyleCnt="0"/>
      <dgm:spPr/>
    </dgm:pt>
    <dgm:pt modelId="{834C18B1-DB3E-483B-ACC4-9FF76ADE8EAD}" type="pres">
      <dgm:prSet presAssocID="{B276F7BC-1DBE-4661-B946-A308ECB2A369}" presName="hierRoot1" presStyleCnt="0"/>
      <dgm:spPr/>
    </dgm:pt>
    <dgm:pt modelId="{074DF283-C14F-4FEE-9A6F-EF083E935653}" type="pres">
      <dgm:prSet presAssocID="{B276F7BC-1DBE-4661-B946-A308ECB2A369}" presName="composite" presStyleCnt="0"/>
      <dgm:spPr/>
    </dgm:pt>
    <dgm:pt modelId="{7742559D-A2BC-410D-A714-B00D69D065A6}" type="pres">
      <dgm:prSet presAssocID="{B276F7BC-1DBE-4661-B946-A308ECB2A369}" presName="background" presStyleLbl="node0" presStyleIdx="2" presStyleCnt="3"/>
      <dgm:spPr/>
    </dgm:pt>
    <dgm:pt modelId="{98E8F815-4736-43D5-8882-9F97E4BEDBA7}" type="pres">
      <dgm:prSet presAssocID="{B276F7BC-1DBE-4661-B946-A308ECB2A369}" presName="text" presStyleLbl="fgAcc0" presStyleIdx="2" presStyleCnt="3">
        <dgm:presLayoutVars>
          <dgm:chPref val="3"/>
        </dgm:presLayoutVars>
      </dgm:prSet>
      <dgm:spPr/>
    </dgm:pt>
    <dgm:pt modelId="{A87F460D-C8B4-4E37-B8D8-989AE6198C67}" type="pres">
      <dgm:prSet presAssocID="{B276F7BC-1DBE-4661-B946-A308ECB2A369}" presName="hierChild2" presStyleCnt="0"/>
      <dgm:spPr/>
    </dgm:pt>
  </dgm:ptLst>
  <dgm:cxnLst>
    <dgm:cxn modelId="{52E3E12A-C979-4800-AC36-24D05459F94C}" type="presOf" srcId="{79FA044C-CE93-40D7-B49F-2BFC873BDA6E}" destId="{9189EE16-185A-4B65-88FA-D04668C40987}" srcOrd="0" destOrd="0" presId="urn:microsoft.com/office/officeart/2005/8/layout/hierarchy1"/>
    <dgm:cxn modelId="{DA295E63-5B85-43D7-A804-4E910B0BB518}" srcId="{5A256BE7-14D3-41A5-BF56-7724FA7FFF93}" destId="{79FA044C-CE93-40D7-B49F-2BFC873BDA6E}" srcOrd="1" destOrd="0" parTransId="{048AB7D7-A851-4D2D-AA7D-CA19020AD5B1}" sibTransId="{B92FAD77-F610-42FD-BFEF-13A03435C39E}"/>
    <dgm:cxn modelId="{B8D3A366-EC8A-4745-8D7A-D53E33B4BA69}" srcId="{5A256BE7-14D3-41A5-BF56-7724FA7FFF93}" destId="{4FE22CAB-1622-4778-AAA8-0E7E58DBC8BC}" srcOrd="0" destOrd="0" parTransId="{876FD1A3-CDA2-4BE3-92B6-729FD587B5ED}" sibTransId="{E30B1C3A-66E4-4923-8DA9-06AE144A4E05}"/>
    <dgm:cxn modelId="{70A050A5-FF6C-418F-B304-275B2D7DD8E2}" srcId="{5A256BE7-14D3-41A5-BF56-7724FA7FFF93}" destId="{B276F7BC-1DBE-4661-B946-A308ECB2A369}" srcOrd="2" destOrd="0" parTransId="{485E2D91-1504-4F4F-83EF-BE1B470C2AAA}" sibTransId="{2DDCD2B4-917E-4509-8463-C4264942B076}"/>
    <dgm:cxn modelId="{BFA409AF-2D73-4701-BC9B-59DFCA2857B1}" type="presOf" srcId="{B276F7BC-1DBE-4661-B946-A308ECB2A369}" destId="{98E8F815-4736-43D5-8882-9F97E4BEDBA7}" srcOrd="0" destOrd="0" presId="urn:microsoft.com/office/officeart/2005/8/layout/hierarchy1"/>
    <dgm:cxn modelId="{0E1DB7CF-C520-4ED6-B79D-7EEB1FBD845F}" type="presOf" srcId="{5A256BE7-14D3-41A5-BF56-7724FA7FFF93}" destId="{83E3F057-222F-4239-B9A3-4DE313796027}" srcOrd="0" destOrd="0" presId="urn:microsoft.com/office/officeart/2005/8/layout/hierarchy1"/>
    <dgm:cxn modelId="{0EAC42E9-6673-4E1C-8819-398048F856F2}" type="presOf" srcId="{4FE22CAB-1622-4778-AAA8-0E7E58DBC8BC}" destId="{BE8C2F02-1A0B-4802-BC5B-2BEE649D04D9}" srcOrd="0" destOrd="0" presId="urn:microsoft.com/office/officeart/2005/8/layout/hierarchy1"/>
    <dgm:cxn modelId="{15D212DC-2BB5-4ACC-A6E4-635A701D466B}" type="presParOf" srcId="{83E3F057-222F-4239-B9A3-4DE313796027}" destId="{DB312C02-3574-4539-9E61-2CEB9E7E3BCC}" srcOrd="0" destOrd="0" presId="urn:microsoft.com/office/officeart/2005/8/layout/hierarchy1"/>
    <dgm:cxn modelId="{77F0C4AC-C05F-4CA7-9D3B-525EABDDA5D2}" type="presParOf" srcId="{DB312C02-3574-4539-9E61-2CEB9E7E3BCC}" destId="{B6BD38D3-45B7-453D-8D7E-AFC924B382E3}" srcOrd="0" destOrd="0" presId="urn:microsoft.com/office/officeart/2005/8/layout/hierarchy1"/>
    <dgm:cxn modelId="{7B728C0C-4F79-4C08-86DE-570C8788AD6A}" type="presParOf" srcId="{B6BD38D3-45B7-453D-8D7E-AFC924B382E3}" destId="{BAC0D9A2-567D-4FCD-8E76-A756DE2EB35D}" srcOrd="0" destOrd="0" presId="urn:microsoft.com/office/officeart/2005/8/layout/hierarchy1"/>
    <dgm:cxn modelId="{9AB31A31-6249-4CE4-86DA-7C88A58C9C8B}" type="presParOf" srcId="{B6BD38D3-45B7-453D-8D7E-AFC924B382E3}" destId="{BE8C2F02-1A0B-4802-BC5B-2BEE649D04D9}" srcOrd="1" destOrd="0" presId="urn:microsoft.com/office/officeart/2005/8/layout/hierarchy1"/>
    <dgm:cxn modelId="{B2AF5DAD-7B92-4E82-ADD6-522D319B7A45}" type="presParOf" srcId="{DB312C02-3574-4539-9E61-2CEB9E7E3BCC}" destId="{9C2ABB68-1473-43A4-B33D-8A023AB6F000}" srcOrd="1" destOrd="0" presId="urn:microsoft.com/office/officeart/2005/8/layout/hierarchy1"/>
    <dgm:cxn modelId="{A64714EF-550B-4ED3-95C5-F0559906D42C}" type="presParOf" srcId="{83E3F057-222F-4239-B9A3-4DE313796027}" destId="{F9268AC5-D762-400B-91DF-AF59567C0760}" srcOrd="1" destOrd="0" presId="urn:microsoft.com/office/officeart/2005/8/layout/hierarchy1"/>
    <dgm:cxn modelId="{F5D1EEC7-2DF6-4506-A280-88095B7B8E0C}" type="presParOf" srcId="{F9268AC5-D762-400B-91DF-AF59567C0760}" destId="{6A3FE964-8312-429B-A0B5-30E216E018A4}" srcOrd="0" destOrd="0" presId="urn:microsoft.com/office/officeart/2005/8/layout/hierarchy1"/>
    <dgm:cxn modelId="{568BCC24-C245-4E78-AA4E-8CCBC06A594C}" type="presParOf" srcId="{6A3FE964-8312-429B-A0B5-30E216E018A4}" destId="{FAC81962-7D85-4FDB-A08D-FBA341873154}" srcOrd="0" destOrd="0" presId="urn:microsoft.com/office/officeart/2005/8/layout/hierarchy1"/>
    <dgm:cxn modelId="{486AF45D-F263-4A19-9119-85605B97A43B}" type="presParOf" srcId="{6A3FE964-8312-429B-A0B5-30E216E018A4}" destId="{9189EE16-185A-4B65-88FA-D04668C40987}" srcOrd="1" destOrd="0" presId="urn:microsoft.com/office/officeart/2005/8/layout/hierarchy1"/>
    <dgm:cxn modelId="{762351AC-A8BD-437E-BF9A-F69CD40114AE}" type="presParOf" srcId="{F9268AC5-D762-400B-91DF-AF59567C0760}" destId="{43DCE811-9C80-45EB-9F85-1A1A044B6A36}" srcOrd="1" destOrd="0" presId="urn:microsoft.com/office/officeart/2005/8/layout/hierarchy1"/>
    <dgm:cxn modelId="{E0113918-F046-44E1-953A-97D787044683}" type="presParOf" srcId="{83E3F057-222F-4239-B9A3-4DE313796027}" destId="{834C18B1-DB3E-483B-ACC4-9FF76ADE8EAD}" srcOrd="2" destOrd="0" presId="urn:microsoft.com/office/officeart/2005/8/layout/hierarchy1"/>
    <dgm:cxn modelId="{69750B4F-C8CF-439F-A69D-88D241534F74}" type="presParOf" srcId="{834C18B1-DB3E-483B-ACC4-9FF76ADE8EAD}" destId="{074DF283-C14F-4FEE-9A6F-EF083E935653}" srcOrd="0" destOrd="0" presId="urn:microsoft.com/office/officeart/2005/8/layout/hierarchy1"/>
    <dgm:cxn modelId="{68CB51DA-442D-488D-A8D1-7D29A81E422A}" type="presParOf" srcId="{074DF283-C14F-4FEE-9A6F-EF083E935653}" destId="{7742559D-A2BC-410D-A714-B00D69D065A6}" srcOrd="0" destOrd="0" presId="urn:microsoft.com/office/officeart/2005/8/layout/hierarchy1"/>
    <dgm:cxn modelId="{EAACDFEA-E328-476D-9C67-3B64F7052D23}" type="presParOf" srcId="{074DF283-C14F-4FEE-9A6F-EF083E935653}" destId="{98E8F815-4736-43D5-8882-9F97E4BEDBA7}" srcOrd="1" destOrd="0" presId="urn:microsoft.com/office/officeart/2005/8/layout/hierarchy1"/>
    <dgm:cxn modelId="{F172CC76-4572-4BE2-BA14-9EF5214DB683}" type="presParOf" srcId="{834C18B1-DB3E-483B-ACC4-9FF76ADE8EAD}" destId="{A87F460D-C8B4-4E37-B8D8-989AE6198C67}"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5C33511-B341-4E83-A3D2-52E3096F8F9E}" type="doc">
      <dgm:prSet loTypeId="urn:microsoft.com/office/officeart/2005/8/layout/list1" loCatId="list" qsTypeId="urn:microsoft.com/office/officeart/2005/8/quickstyle/simple2" qsCatId="simple" csTypeId="urn:microsoft.com/office/officeart/2005/8/colors/accent1_2" csCatId="accent1" phldr="1"/>
      <dgm:spPr/>
      <dgm:t>
        <a:bodyPr/>
        <a:lstStyle/>
        <a:p>
          <a:endParaRPr lang="en-US"/>
        </a:p>
      </dgm:t>
    </dgm:pt>
    <dgm:pt modelId="{4B76E838-328F-4FB2-9535-9321DB175490}">
      <dgm:prSet/>
      <dgm:spPr/>
      <dgm:t>
        <a:bodyPr/>
        <a:lstStyle/>
        <a:p>
          <a:r>
            <a:rPr lang="en-US"/>
            <a:t>Provisioned Throughput</a:t>
          </a:r>
        </a:p>
      </dgm:t>
    </dgm:pt>
    <dgm:pt modelId="{49C8A51A-8B97-4A07-89C5-91AF940F4E3B}" type="parTrans" cxnId="{DB9EF1B2-886C-4732-91AF-BAAAD7892E1F}">
      <dgm:prSet/>
      <dgm:spPr/>
      <dgm:t>
        <a:bodyPr/>
        <a:lstStyle/>
        <a:p>
          <a:endParaRPr lang="en-US"/>
        </a:p>
      </dgm:t>
    </dgm:pt>
    <dgm:pt modelId="{70980B94-7EB7-4565-89DA-BF8D79B88C18}" type="sibTrans" cxnId="{DB9EF1B2-886C-4732-91AF-BAAAD7892E1F}">
      <dgm:prSet/>
      <dgm:spPr/>
      <dgm:t>
        <a:bodyPr/>
        <a:lstStyle/>
        <a:p>
          <a:endParaRPr lang="en-US"/>
        </a:p>
      </dgm:t>
    </dgm:pt>
    <dgm:pt modelId="{F5A144F1-1A5E-47AD-94C1-B51BC46B5F7B}">
      <dgm:prSet/>
      <dgm:spPr/>
      <dgm:t>
        <a:bodyPr/>
        <a:lstStyle/>
        <a:p>
          <a:r>
            <a:rPr lang="en-US"/>
            <a:t>Guarantees high performance at any scale. </a:t>
          </a:r>
        </a:p>
      </dgm:t>
    </dgm:pt>
    <dgm:pt modelId="{07302838-6801-440A-B07F-E7561205006F}" type="parTrans" cxnId="{336DA7FC-82A5-437F-BA4E-ED5677482671}">
      <dgm:prSet/>
      <dgm:spPr/>
      <dgm:t>
        <a:bodyPr/>
        <a:lstStyle/>
        <a:p>
          <a:endParaRPr lang="en-US"/>
        </a:p>
      </dgm:t>
    </dgm:pt>
    <dgm:pt modelId="{099DF0E5-45F4-4C9B-955E-1501C3397302}" type="sibTrans" cxnId="{336DA7FC-82A5-437F-BA4E-ED5677482671}">
      <dgm:prSet/>
      <dgm:spPr/>
      <dgm:t>
        <a:bodyPr/>
        <a:lstStyle/>
        <a:p>
          <a:endParaRPr lang="en-US"/>
        </a:p>
      </dgm:t>
    </dgm:pt>
    <dgm:pt modelId="{4613316B-F3C1-4659-B2C5-366520844427}">
      <dgm:prSet/>
      <dgm:spPr/>
      <dgm:t>
        <a:bodyPr/>
        <a:lstStyle/>
        <a:p>
          <a:r>
            <a:rPr lang="en-US"/>
            <a:t>You specify the throughput (RU/s) that you need, and Azure Cosmos DB dedicates the resources required to guarantee the configured throughput. </a:t>
          </a:r>
        </a:p>
      </dgm:t>
    </dgm:pt>
    <dgm:pt modelId="{B61FA127-7F22-4C84-AC44-51636363D933}" type="parTrans" cxnId="{5D333C3E-2889-4B9B-AD7F-7543C565BFBF}">
      <dgm:prSet/>
      <dgm:spPr/>
      <dgm:t>
        <a:bodyPr/>
        <a:lstStyle/>
        <a:p>
          <a:endParaRPr lang="en-US"/>
        </a:p>
      </dgm:t>
    </dgm:pt>
    <dgm:pt modelId="{50E36C77-C0AB-49CA-BEE9-8344355D8D2C}" type="sibTrans" cxnId="{5D333C3E-2889-4B9B-AD7F-7543C565BFBF}">
      <dgm:prSet/>
      <dgm:spPr/>
      <dgm:t>
        <a:bodyPr/>
        <a:lstStyle/>
        <a:p>
          <a:endParaRPr lang="en-US"/>
        </a:p>
      </dgm:t>
    </dgm:pt>
    <dgm:pt modelId="{44DF720E-8BFF-4A48-B197-0A9C91A0C325}">
      <dgm:prSet/>
      <dgm:spPr/>
      <dgm:t>
        <a:bodyPr/>
        <a:lstStyle/>
        <a:p>
          <a:r>
            <a:rPr lang="en-US" dirty="0"/>
            <a:t>Billed hourly for the maximum provisioned throughput for a given hour.</a:t>
          </a:r>
        </a:p>
      </dgm:t>
    </dgm:pt>
    <dgm:pt modelId="{57672E05-0224-40D0-A518-551D4018BBBD}" type="parTrans" cxnId="{0FDB9565-812D-4FB9-8CA9-7FE54A82522E}">
      <dgm:prSet/>
      <dgm:spPr/>
      <dgm:t>
        <a:bodyPr/>
        <a:lstStyle/>
        <a:p>
          <a:endParaRPr lang="en-US"/>
        </a:p>
      </dgm:t>
    </dgm:pt>
    <dgm:pt modelId="{F94A8DA0-1BC9-4B55-9091-D3DA8AC1EF93}" type="sibTrans" cxnId="{0FDB9565-812D-4FB9-8CA9-7FE54A82522E}">
      <dgm:prSet/>
      <dgm:spPr/>
      <dgm:t>
        <a:bodyPr/>
        <a:lstStyle/>
        <a:p>
          <a:endParaRPr lang="en-US"/>
        </a:p>
      </dgm:t>
    </dgm:pt>
    <dgm:pt modelId="{3DF86B06-D850-4F60-B7AF-7175BDE240CF}">
      <dgm:prSet/>
      <dgm:spPr/>
      <dgm:t>
        <a:bodyPr/>
        <a:lstStyle/>
        <a:p>
          <a:r>
            <a:rPr lang="en-US"/>
            <a:t>Consumed Storage</a:t>
          </a:r>
        </a:p>
      </dgm:t>
    </dgm:pt>
    <dgm:pt modelId="{4F431757-718C-485F-BF8C-61782050F2F7}" type="parTrans" cxnId="{C611A118-EF7E-4393-9B1F-4A550DA3F6D7}">
      <dgm:prSet/>
      <dgm:spPr/>
      <dgm:t>
        <a:bodyPr/>
        <a:lstStyle/>
        <a:p>
          <a:endParaRPr lang="en-US"/>
        </a:p>
      </dgm:t>
    </dgm:pt>
    <dgm:pt modelId="{92354408-EBDA-4C07-A7B8-D7AD6E52782A}" type="sibTrans" cxnId="{C611A118-EF7E-4393-9B1F-4A550DA3F6D7}">
      <dgm:prSet/>
      <dgm:spPr/>
      <dgm:t>
        <a:bodyPr/>
        <a:lstStyle/>
        <a:p>
          <a:endParaRPr lang="en-US"/>
        </a:p>
      </dgm:t>
    </dgm:pt>
    <dgm:pt modelId="{324AAA51-79A6-4805-9E7A-3BE416D1324F}">
      <dgm:prSet/>
      <dgm:spPr/>
      <dgm:t>
        <a:bodyPr/>
        <a:lstStyle/>
        <a:p>
          <a:r>
            <a:rPr lang="en-US"/>
            <a:t>Billed a flat rate for total amount of storage (GBs) consumed for data and indexes for a given hour.</a:t>
          </a:r>
        </a:p>
      </dgm:t>
    </dgm:pt>
    <dgm:pt modelId="{E43A4E20-62AE-4CAD-9F1C-8025AAB3A83B}" type="parTrans" cxnId="{60E46E25-4E24-46B8-80CE-3F6D478E641F}">
      <dgm:prSet/>
      <dgm:spPr/>
      <dgm:t>
        <a:bodyPr/>
        <a:lstStyle/>
        <a:p>
          <a:endParaRPr lang="en-US"/>
        </a:p>
      </dgm:t>
    </dgm:pt>
    <dgm:pt modelId="{84CA189F-1A1A-4095-828D-E30EDAFA698C}" type="sibTrans" cxnId="{60E46E25-4E24-46B8-80CE-3F6D478E641F}">
      <dgm:prSet/>
      <dgm:spPr/>
      <dgm:t>
        <a:bodyPr/>
        <a:lstStyle/>
        <a:p>
          <a:endParaRPr lang="en-US"/>
        </a:p>
      </dgm:t>
    </dgm:pt>
    <dgm:pt modelId="{4C7536A1-5C74-4CB6-A1D2-4FB545BF8FF2}">
      <dgm:prSet/>
      <dgm:spPr/>
      <dgm:t>
        <a:bodyPr/>
        <a:lstStyle/>
        <a:p>
          <a:r>
            <a:rPr lang="en-US"/>
            <a:t>Multi-Region </a:t>
          </a:r>
        </a:p>
      </dgm:t>
    </dgm:pt>
    <dgm:pt modelId="{B5368B93-FB7B-4671-BD2B-796C4D1C848A}" type="parTrans" cxnId="{C1184228-67A7-4766-83F9-D760317670A0}">
      <dgm:prSet/>
      <dgm:spPr/>
      <dgm:t>
        <a:bodyPr/>
        <a:lstStyle/>
        <a:p>
          <a:endParaRPr lang="en-US"/>
        </a:p>
      </dgm:t>
    </dgm:pt>
    <dgm:pt modelId="{5F8B8340-842C-48C9-9972-EEA7DB6ABA4A}" type="sibTrans" cxnId="{C1184228-67A7-4766-83F9-D760317670A0}">
      <dgm:prSet/>
      <dgm:spPr/>
      <dgm:t>
        <a:bodyPr/>
        <a:lstStyle/>
        <a:p>
          <a:endParaRPr lang="en-US"/>
        </a:p>
      </dgm:t>
    </dgm:pt>
    <dgm:pt modelId="{D36D316F-D079-40CA-85BC-16FAA30983DF}">
      <dgm:prSet/>
      <dgm:spPr/>
      <dgm:t>
        <a:bodyPr/>
        <a:lstStyle/>
        <a:p>
          <a:r>
            <a:rPr lang="en-US"/>
            <a:t>can add and remove regions to your Azure Cosmos account at any time</a:t>
          </a:r>
        </a:p>
      </dgm:t>
    </dgm:pt>
    <dgm:pt modelId="{5F6ED3E7-6226-4AB0-9855-0A838574CB00}" type="parTrans" cxnId="{A34F7F2D-FE09-4850-B5EC-22489E39F176}">
      <dgm:prSet/>
      <dgm:spPr/>
      <dgm:t>
        <a:bodyPr/>
        <a:lstStyle/>
        <a:p>
          <a:endParaRPr lang="en-US"/>
        </a:p>
      </dgm:t>
    </dgm:pt>
    <dgm:pt modelId="{6052ED7C-520C-477A-B9B5-E576C37D394C}" type="sibTrans" cxnId="{A34F7F2D-FE09-4850-B5EC-22489E39F176}">
      <dgm:prSet/>
      <dgm:spPr/>
      <dgm:t>
        <a:bodyPr/>
        <a:lstStyle/>
        <a:p>
          <a:endParaRPr lang="en-US"/>
        </a:p>
      </dgm:t>
    </dgm:pt>
    <dgm:pt modelId="{3D97B233-A21A-49C5-9269-2AFA41CE1648}">
      <dgm:prSet/>
      <dgm:spPr/>
      <dgm:t>
        <a:bodyPr/>
        <a:lstStyle/>
        <a:p>
          <a:r>
            <a:rPr lang="en-US" dirty="0"/>
            <a:t>Throughput that you configure for various Azure Cosmos databases and containers is reserved in each region associated with your account</a:t>
          </a:r>
        </a:p>
      </dgm:t>
    </dgm:pt>
    <dgm:pt modelId="{081DFC43-B601-4979-986F-ACC133524204}" type="parTrans" cxnId="{9C8218BB-9469-4935-9988-C5CE412EB634}">
      <dgm:prSet/>
      <dgm:spPr/>
      <dgm:t>
        <a:bodyPr/>
        <a:lstStyle/>
        <a:p>
          <a:endParaRPr lang="en-US"/>
        </a:p>
      </dgm:t>
    </dgm:pt>
    <dgm:pt modelId="{D6950B1E-62D1-4D0F-ACC5-B695D96D0ACA}" type="sibTrans" cxnId="{9C8218BB-9469-4935-9988-C5CE412EB634}">
      <dgm:prSet/>
      <dgm:spPr/>
      <dgm:t>
        <a:bodyPr/>
        <a:lstStyle/>
        <a:p>
          <a:endParaRPr lang="en-US"/>
        </a:p>
      </dgm:t>
    </dgm:pt>
    <dgm:pt modelId="{63C7CD25-41A9-4AB9-9085-39C03B890530}" type="pres">
      <dgm:prSet presAssocID="{25C33511-B341-4E83-A3D2-52E3096F8F9E}" presName="linear" presStyleCnt="0">
        <dgm:presLayoutVars>
          <dgm:dir/>
          <dgm:animLvl val="lvl"/>
          <dgm:resizeHandles val="exact"/>
        </dgm:presLayoutVars>
      </dgm:prSet>
      <dgm:spPr/>
    </dgm:pt>
    <dgm:pt modelId="{35EA72B9-1D72-45A7-8D9A-CC44FC34FD0F}" type="pres">
      <dgm:prSet presAssocID="{4B76E838-328F-4FB2-9535-9321DB175490}" presName="parentLin" presStyleCnt="0"/>
      <dgm:spPr/>
    </dgm:pt>
    <dgm:pt modelId="{6EEBA92C-F7C6-44F0-AB17-1D8953FB15A2}" type="pres">
      <dgm:prSet presAssocID="{4B76E838-328F-4FB2-9535-9321DB175490}" presName="parentLeftMargin" presStyleLbl="node1" presStyleIdx="0" presStyleCnt="3"/>
      <dgm:spPr/>
    </dgm:pt>
    <dgm:pt modelId="{324E75F8-7039-4A88-82B2-22F006495CEF}" type="pres">
      <dgm:prSet presAssocID="{4B76E838-328F-4FB2-9535-9321DB175490}" presName="parentText" presStyleLbl="node1" presStyleIdx="0" presStyleCnt="3">
        <dgm:presLayoutVars>
          <dgm:chMax val="0"/>
          <dgm:bulletEnabled val="1"/>
        </dgm:presLayoutVars>
      </dgm:prSet>
      <dgm:spPr/>
    </dgm:pt>
    <dgm:pt modelId="{D8748727-44AB-46FC-A191-30BA6187F2D0}" type="pres">
      <dgm:prSet presAssocID="{4B76E838-328F-4FB2-9535-9321DB175490}" presName="negativeSpace" presStyleCnt="0"/>
      <dgm:spPr/>
    </dgm:pt>
    <dgm:pt modelId="{4989BEC8-B4A5-4DA5-9F24-252D8D29EAD7}" type="pres">
      <dgm:prSet presAssocID="{4B76E838-328F-4FB2-9535-9321DB175490}" presName="childText" presStyleLbl="conFgAcc1" presStyleIdx="0" presStyleCnt="3">
        <dgm:presLayoutVars>
          <dgm:bulletEnabled val="1"/>
        </dgm:presLayoutVars>
      </dgm:prSet>
      <dgm:spPr/>
    </dgm:pt>
    <dgm:pt modelId="{407B5ABB-B885-4CDE-BD85-E8A0F078ED87}" type="pres">
      <dgm:prSet presAssocID="{70980B94-7EB7-4565-89DA-BF8D79B88C18}" presName="spaceBetweenRectangles" presStyleCnt="0"/>
      <dgm:spPr/>
    </dgm:pt>
    <dgm:pt modelId="{FEF9E3DA-A47B-46CD-A727-B97B10D360EE}" type="pres">
      <dgm:prSet presAssocID="{3DF86B06-D850-4F60-B7AF-7175BDE240CF}" presName="parentLin" presStyleCnt="0"/>
      <dgm:spPr/>
    </dgm:pt>
    <dgm:pt modelId="{9FE2D9EC-404D-4F81-9F08-B756C4FB9BBA}" type="pres">
      <dgm:prSet presAssocID="{3DF86B06-D850-4F60-B7AF-7175BDE240CF}" presName="parentLeftMargin" presStyleLbl="node1" presStyleIdx="0" presStyleCnt="3"/>
      <dgm:spPr/>
    </dgm:pt>
    <dgm:pt modelId="{4B44C7D6-EE7B-4D02-B52B-8B9610A70A60}" type="pres">
      <dgm:prSet presAssocID="{3DF86B06-D850-4F60-B7AF-7175BDE240CF}" presName="parentText" presStyleLbl="node1" presStyleIdx="1" presStyleCnt="3">
        <dgm:presLayoutVars>
          <dgm:chMax val="0"/>
          <dgm:bulletEnabled val="1"/>
        </dgm:presLayoutVars>
      </dgm:prSet>
      <dgm:spPr/>
    </dgm:pt>
    <dgm:pt modelId="{ADDB14CD-9E87-4E36-B517-B9669A1952D6}" type="pres">
      <dgm:prSet presAssocID="{3DF86B06-D850-4F60-B7AF-7175BDE240CF}" presName="negativeSpace" presStyleCnt="0"/>
      <dgm:spPr/>
    </dgm:pt>
    <dgm:pt modelId="{162BB239-6A07-42E2-95AA-D8596A88EE41}" type="pres">
      <dgm:prSet presAssocID="{3DF86B06-D850-4F60-B7AF-7175BDE240CF}" presName="childText" presStyleLbl="conFgAcc1" presStyleIdx="1" presStyleCnt="3">
        <dgm:presLayoutVars>
          <dgm:bulletEnabled val="1"/>
        </dgm:presLayoutVars>
      </dgm:prSet>
      <dgm:spPr/>
    </dgm:pt>
    <dgm:pt modelId="{5683628A-9D7A-4933-A558-B2D60479B96E}" type="pres">
      <dgm:prSet presAssocID="{92354408-EBDA-4C07-A7B8-D7AD6E52782A}" presName="spaceBetweenRectangles" presStyleCnt="0"/>
      <dgm:spPr/>
    </dgm:pt>
    <dgm:pt modelId="{71B53A79-F025-41B6-9825-3102663AD4BA}" type="pres">
      <dgm:prSet presAssocID="{4C7536A1-5C74-4CB6-A1D2-4FB545BF8FF2}" presName="parentLin" presStyleCnt="0"/>
      <dgm:spPr/>
    </dgm:pt>
    <dgm:pt modelId="{FE056834-44B9-4B75-A0C0-DDE836BDFAD7}" type="pres">
      <dgm:prSet presAssocID="{4C7536A1-5C74-4CB6-A1D2-4FB545BF8FF2}" presName="parentLeftMargin" presStyleLbl="node1" presStyleIdx="1" presStyleCnt="3"/>
      <dgm:spPr/>
    </dgm:pt>
    <dgm:pt modelId="{385BD4AC-E1BE-4138-B2B2-2B3BBFAF2469}" type="pres">
      <dgm:prSet presAssocID="{4C7536A1-5C74-4CB6-A1D2-4FB545BF8FF2}" presName="parentText" presStyleLbl="node1" presStyleIdx="2" presStyleCnt="3">
        <dgm:presLayoutVars>
          <dgm:chMax val="0"/>
          <dgm:bulletEnabled val="1"/>
        </dgm:presLayoutVars>
      </dgm:prSet>
      <dgm:spPr/>
    </dgm:pt>
    <dgm:pt modelId="{D99925CE-F8D8-41A1-AAB2-E376B34AA6B2}" type="pres">
      <dgm:prSet presAssocID="{4C7536A1-5C74-4CB6-A1D2-4FB545BF8FF2}" presName="negativeSpace" presStyleCnt="0"/>
      <dgm:spPr/>
    </dgm:pt>
    <dgm:pt modelId="{D2B59F20-A886-4E31-A206-00ADB83C4511}" type="pres">
      <dgm:prSet presAssocID="{4C7536A1-5C74-4CB6-A1D2-4FB545BF8FF2}" presName="childText" presStyleLbl="conFgAcc1" presStyleIdx="2" presStyleCnt="3">
        <dgm:presLayoutVars>
          <dgm:bulletEnabled val="1"/>
        </dgm:presLayoutVars>
      </dgm:prSet>
      <dgm:spPr/>
    </dgm:pt>
  </dgm:ptLst>
  <dgm:cxnLst>
    <dgm:cxn modelId="{C611A118-EF7E-4393-9B1F-4A550DA3F6D7}" srcId="{25C33511-B341-4E83-A3D2-52E3096F8F9E}" destId="{3DF86B06-D850-4F60-B7AF-7175BDE240CF}" srcOrd="1" destOrd="0" parTransId="{4F431757-718C-485F-BF8C-61782050F2F7}" sibTransId="{92354408-EBDA-4C07-A7B8-D7AD6E52782A}"/>
    <dgm:cxn modelId="{59D8A01B-602F-4774-AD8E-A81FD339E6E2}" type="presOf" srcId="{3DF86B06-D850-4F60-B7AF-7175BDE240CF}" destId="{4B44C7D6-EE7B-4D02-B52B-8B9610A70A60}" srcOrd="1" destOrd="0" presId="urn:microsoft.com/office/officeart/2005/8/layout/list1"/>
    <dgm:cxn modelId="{304B381D-AA2F-436E-9E4B-3732E76185D4}" type="presOf" srcId="{4613316B-F3C1-4659-B2C5-366520844427}" destId="{4989BEC8-B4A5-4DA5-9F24-252D8D29EAD7}" srcOrd="0" destOrd="1" presId="urn:microsoft.com/office/officeart/2005/8/layout/list1"/>
    <dgm:cxn modelId="{60E46E25-4E24-46B8-80CE-3F6D478E641F}" srcId="{3DF86B06-D850-4F60-B7AF-7175BDE240CF}" destId="{324AAA51-79A6-4805-9E7A-3BE416D1324F}" srcOrd="0" destOrd="0" parTransId="{E43A4E20-62AE-4CAD-9F1C-8025AAB3A83B}" sibTransId="{84CA189F-1A1A-4095-828D-E30EDAFA698C}"/>
    <dgm:cxn modelId="{C1184228-67A7-4766-83F9-D760317670A0}" srcId="{25C33511-B341-4E83-A3D2-52E3096F8F9E}" destId="{4C7536A1-5C74-4CB6-A1D2-4FB545BF8FF2}" srcOrd="2" destOrd="0" parTransId="{B5368B93-FB7B-4671-BD2B-796C4D1C848A}" sibTransId="{5F8B8340-842C-48C9-9972-EEA7DB6ABA4A}"/>
    <dgm:cxn modelId="{D8069C2B-2A0A-47BB-A4B9-87AE9B25EADE}" type="presOf" srcId="{3D97B233-A21A-49C5-9269-2AFA41CE1648}" destId="{D2B59F20-A886-4E31-A206-00ADB83C4511}" srcOrd="0" destOrd="1" presId="urn:microsoft.com/office/officeart/2005/8/layout/list1"/>
    <dgm:cxn modelId="{A34F7F2D-FE09-4850-B5EC-22489E39F176}" srcId="{4C7536A1-5C74-4CB6-A1D2-4FB545BF8FF2}" destId="{D36D316F-D079-40CA-85BC-16FAA30983DF}" srcOrd="0" destOrd="0" parTransId="{5F6ED3E7-6226-4AB0-9855-0A838574CB00}" sibTransId="{6052ED7C-520C-477A-B9B5-E576C37D394C}"/>
    <dgm:cxn modelId="{DF2FA732-A69E-4EF7-AD22-CAEA761EA066}" type="presOf" srcId="{4B76E838-328F-4FB2-9535-9321DB175490}" destId="{6EEBA92C-F7C6-44F0-AB17-1D8953FB15A2}" srcOrd="0" destOrd="0" presId="urn:microsoft.com/office/officeart/2005/8/layout/list1"/>
    <dgm:cxn modelId="{5D333C3E-2889-4B9B-AD7F-7543C565BFBF}" srcId="{4B76E838-328F-4FB2-9535-9321DB175490}" destId="{4613316B-F3C1-4659-B2C5-366520844427}" srcOrd="1" destOrd="0" parTransId="{B61FA127-7F22-4C84-AC44-51636363D933}" sibTransId="{50E36C77-C0AB-49CA-BEE9-8344355D8D2C}"/>
    <dgm:cxn modelId="{828D8243-D91F-4C90-8311-54E8A8FFE80D}" type="presOf" srcId="{25C33511-B341-4E83-A3D2-52E3096F8F9E}" destId="{63C7CD25-41A9-4AB9-9085-39C03B890530}" srcOrd="0" destOrd="0" presId="urn:microsoft.com/office/officeart/2005/8/layout/list1"/>
    <dgm:cxn modelId="{0FDB9565-812D-4FB9-8CA9-7FE54A82522E}" srcId="{4B76E838-328F-4FB2-9535-9321DB175490}" destId="{44DF720E-8BFF-4A48-B197-0A9C91A0C325}" srcOrd="2" destOrd="0" parTransId="{57672E05-0224-40D0-A518-551D4018BBBD}" sibTransId="{F94A8DA0-1BC9-4B55-9091-D3DA8AC1EF93}"/>
    <dgm:cxn modelId="{B2DC816A-2FD7-4B6D-ACD3-0AFCE42BFF4C}" type="presOf" srcId="{4C7536A1-5C74-4CB6-A1D2-4FB545BF8FF2}" destId="{FE056834-44B9-4B75-A0C0-DDE836BDFAD7}" srcOrd="0" destOrd="0" presId="urn:microsoft.com/office/officeart/2005/8/layout/list1"/>
    <dgm:cxn modelId="{22B82584-53E4-4499-ABD4-AABB65AE39FF}" type="presOf" srcId="{4C7536A1-5C74-4CB6-A1D2-4FB545BF8FF2}" destId="{385BD4AC-E1BE-4138-B2B2-2B3BBFAF2469}" srcOrd="1" destOrd="0" presId="urn:microsoft.com/office/officeart/2005/8/layout/list1"/>
    <dgm:cxn modelId="{06B16688-1FE5-4041-8F25-C31C3909C41A}" type="presOf" srcId="{324AAA51-79A6-4805-9E7A-3BE416D1324F}" destId="{162BB239-6A07-42E2-95AA-D8596A88EE41}" srcOrd="0" destOrd="0" presId="urn:microsoft.com/office/officeart/2005/8/layout/list1"/>
    <dgm:cxn modelId="{A5304EA2-9C0B-4FA9-8F6F-9398AB567C1A}" type="presOf" srcId="{D36D316F-D079-40CA-85BC-16FAA30983DF}" destId="{D2B59F20-A886-4E31-A206-00ADB83C4511}" srcOrd="0" destOrd="0" presId="urn:microsoft.com/office/officeart/2005/8/layout/list1"/>
    <dgm:cxn modelId="{F8B3C2AD-319E-4DA6-8A31-3207244DB1A1}" type="presOf" srcId="{4B76E838-328F-4FB2-9535-9321DB175490}" destId="{324E75F8-7039-4A88-82B2-22F006495CEF}" srcOrd="1" destOrd="0" presId="urn:microsoft.com/office/officeart/2005/8/layout/list1"/>
    <dgm:cxn modelId="{B36D50AE-833E-4D82-9C21-0EA626AB1413}" type="presOf" srcId="{3DF86B06-D850-4F60-B7AF-7175BDE240CF}" destId="{9FE2D9EC-404D-4F81-9F08-B756C4FB9BBA}" srcOrd="0" destOrd="0" presId="urn:microsoft.com/office/officeart/2005/8/layout/list1"/>
    <dgm:cxn modelId="{BD8080B0-464C-41DD-902C-CD064AED181F}" type="presOf" srcId="{F5A144F1-1A5E-47AD-94C1-B51BC46B5F7B}" destId="{4989BEC8-B4A5-4DA5-9F24-252D8D29EAD7}" srcOrd="0" destOrd="0" presId="urn:microsoft.com/office/officeart/2005/8/layout/list1"/>
    <dgm:cxn modelId="{DB9EF1B2-886C-4732-91AF-BAAAD7892E1F}" srcId="{25C33511-B341-4E83-A3D2-52E3096F8F9E}" destId="{4B76E838-328F-4FB2-9535-9321DB175490}" srcOrd="0" destOrd="0" parTransId="{49C8A51A-8B97-4A07-89C5-91AF940F4E3B}" sibTransId="{70980B94-7EB7-4565-89DA-BF8D79B88C18}"/>
    <dgm:cxn modelId="{9C8218BB-9469-4935-9988-C5CE412EB634}" srcId="{4C7536A1-5C74-4CB6-A1D2-4FB545BF8FF2}" destId="{3D97B233-A21A-49C5-9269-2AFA41CE1648}" srcOrd="1" destOrd="0" parTransId="{081DFC43-B601-4979-986F-ACC133524204}" sibTransId="{D6950B1E-62D1-4D0F-ACC5-B695D96D0ACA}"/>
    <dgm:cxn modelId="{A908B3D9-4F15-40A9-B9A7-606A8C5A1B1A}" type="presOf" srcId="{44DF720E-8BFF-4A48-B197-0A9C91A0C325}" destId="{4989BEC8-B4A5-4DA5-9F24-252D8D29EAD7}" srcOrd="0" destOrd="2" presId="urn:microsoft.com/office/officeart/2005/8/layout/list1"/>
    <dgm:cxn modelId="{336DA7FC-82A5-437F-BA4E-ED5677482671}" srcId="{4B76E838-328F-4FB2-9535-9321DB175490}" destId="{F5A144F1-1A5E-47AD-94C1-B51BC46B5F7B}" srcOrd="0" destOrd="0" parTransId="{07302838-6801-440A-B07F-E7561205006F}" sibTransId="{099DF0E5-45F4-4C9B-955E-1501C3397302}"/>
    <dgm:cxn modelId="{AA2F31DE-2769-4186-9922-F96C5AF2ABC2}" type="presParOf" srcId="{63C7CD25-41A9-4AB9-9085-39C03B890530}" destId="{35EA72B9-1D72-45A7-8D9A-CC44FC34FD0F}" srcOrd="0" destOrd="0" presId="urn:microsoft.com/office/officeart/2005/8/layout/list1"/>
    <dgm:cxn modelId="{76E1B287-FE32-4CC8-B3A8-D5F1D4ACE8D4}" type="presParOf" srcId="{35EA72B9-1D72-45A7-8D9A-CC44FC34FD0F}" destId="{6EEBA92C-F7C6-44F0-AB17-1D8953FB15A2}" srcOrd="0" destOrd="0" presId="urn:microsoft.com/office/officeart/2005/8/layout/list1"/>
    <dgm:cxn modelId="{9A8C7345-95D1-420C-A4D7-67E3FC0FCEAD}" type="presParOf" srcId="{35EA72B9-1D72-45A7-8D9A-CC44FC34FD0F}" destId="{324E75F8-7039-4A88-82B2-22F006495CEF}" srcOrd="1" destOrd="0" presId="urn:microsoft.com/office/officeart/2005/8/layout/list1"/>
    <dgm:cxn modelId="{1F2B116A-EAFF-47D9-9C8E-C4DE2305F258}" type="presParOf" srcId="{63C7CD25-41A9-4AB9-9085-39C03B890530}" destId="{D8748727-44AB-46FC-A191-30BA6187F2D0}" srcOrd="1" destOrd="0" presId="urn:microsoft.com/office/officeart/2005/8/layout/list1"/>
    <dgm:cxn modelId="{A07ADB8E-0CF0-4282-ABC4-63352FD734C0}" type="presParOf" srcId="{63C7CD25-41A9-4AB9-9085-39C03B890530}" destId="{4989BEC8-B4A5-4DA5-9F24-252D8D29EAD7}" srcOrd="2" destOrd="0" presId="urn:microsoft.com/office/officeart/2005/8/layout/list1"/>
    <dgm:cxn modelId="{E60A07B9-DDA1-49FD-A3C2-5DC442717316}" type="presParOf" srcId="{63C7CD25-41A9-4AB9-9085-39C03B890530}" destId="{407B5ABB-B885-4CDE-BD85-E8A0F078ED87}" srcOrd="3" destOrd="0" presId="urn:microsoft.com/office/officeart/2005/8/layout/list1"/>
    <dgm:cxn modelId="{E032120E-FB18-43E9-A7FB-EB51D09822E4}" type="presParOf" srcId="{63C7CD25-41A9-4AB9-9085-39C03B890530}" destId="{FEF9E3DA-A47B-46CD-A727-B97B10D360EE}" srcOrd="4" destOrd="0" presId="urn:microsoft.com/office/officeart/2005/8/layout/list1"/>
    <dgm:cxn modelId="{981F7652-C85D-4CC3-BDD3-50BE64A32DE8}" type="presParOf" srcId="{FEF9E3DA-A47B-46CD-A727-B97B10D360EE}" destId="{9FE2D9EC-404D-4F81-9F08-B756C4FB9BBA}" srcOrd="0" destOrd="0" presId="urn:microsoft.com/office/officeart/2005/8/layout/list1"/>
    <dgm:cxn modelId="{FDD5828A-0C88-4152-9745-F8A545728D88}" type="presParOf" srcId="{FEF9E3DA-A47B-46CD-A727-B97B10D360EE}" destId="{4B44C7D6-EE7B-4D02-B52B-8B9610A70A60}" srcOrd="1" destOrd="0" presId="urn:microsoft.com/office/officeart/2005/8/layout/list1"/>
    <dgm:cxn modelId="{2E407D33-6A37-4479-A840-8E82C991DED1}" type="presParOf" srcId="{63C7CD25-41A9-4AB9-9085-39C03B890530}" destId="{ADDB14CD-9E87-4E36-B517-B9669A1952D6}" srcOrd="5" destOrd="0" presId="urn:microsoft.com/office/officeart/2005/8/layout/list1"/>
    <dgm:cxn modelId="{3CD9E8B1-D743-4D9C-B860-9B503663B184}" type="presParOf" srcId="{63C7CD25-41A9-4AB9-9085-39C03B890530}" destId="{162BB239-6A07-42E2-95AA-D8596A88EE41}" srcOrd="6" destOrd="0" presId="urn:microsoft.com/office/officeart/2005/8/layout/list1"/>
    <dgm:cxn modelId="{78B4C4B2-5ED9-4942-922B-8B115734B24F}" type="presParOf" srcId="{63C7CD25-41A9-4AB9-9085-39C03B890530}" destId="{5683628A-9D7A-4933-A558-B2D60479B96E}" srcOrd="7" destOrd="0" presId="urn:microsoft.com/office/officeart/2005/8/layout/list1"/>
    <dgm:cxn modelId="{BA91860E-ABC4-4656-9DA6-71C87A46918C}" type="presParOf" srcId="{63C7CD25-41A9-4AB9-9085-39C03B890530}" destId="{71B53A79-F025-41B6-9825-3102663AD4BA}" srcOrd="8" destOrd="0" presId="urn:microsoft.com/office/officeart/2005/8/layout/list1"/>
    <dgm:cxn modelId="{41CDDAFC-71EA-46EA-A25D-C2C2DCB42F7E}" type="presParOf" srcId="{71B53A79-F025-41B6-9825-3102663AD4BA}" destId="{FE056834-44B9-4B75-A0C0-DDE836BDFAD7}" srcOrd="0" destOrd="0" presId="urn:microsoft.com/office/officeart/2005/8/layout/list1"/>
    <dgm:cxn modelId="{CF07D2A6-7E20-452A-8C4E-4E5197055B06}" type="presParOf" srcId="{71B53A79-F025-41B6-9825-3102663AD4BA}" destId="{385BD4AC-E1BE-4138-B2B2-2B3BBFAF2469}" srcOrd="1" destOrd="0" presId="urn:microsoft.com/office/officeart/2005/8/layout/list1"/>
    <dgm:cxn modelId="{2718021D-D8E7-463F-A284-D80386D139E4}" type="presParOf" srcId="{63C7CD25-41A9-4AB9-9085-39C03B890530}" destId="{D99925CE-F8D8-41A1-AAB2-E376B34AA6B2}" srcOrd="9" destOrd="0" presId="urn:microsoft.com/office/officeart/2005/8/layout/list1"/>
    <dgm:cxn modelId="{7C8E8FED-43A6-49AF-A983-86ABB3EA2EC9}" type="presParOf" srcId="{63C7CD25-41A9-4AB9-9085-39C03B890530}" destId="{D2B59F20-A886-4E31-A206-00ADB83C4511}"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True or false. Billing is based on computational usage; you only pay for what you us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What response header includes the number of RUs consumed for a given request?</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2539C4A6-E1C4-421E-9A76-43A43CD019F1}">
      <dgm:prSet/>
      <dgm:spPr/>
      <dgm:t>
        <a:bodyPr/>
        <a:lstStyle/>
        <a:p>
          <a:r>
            <a:rPr lang="en-US" dirty="0"/>
            <a:t>What are the three pricing models?</a:t>
          </a:r>
        </a:p>
      </dgm:t>
    </dgm:pt>
    <dgm:pt modelId="{3FBAB6A2-0607-4274-9C0A-0E5D7E46D320}" type="sibTrans" cxnId="{98492234-25A1-433B-AC6D-1D609DCBF9E5}">
      <dgm:prSet/>
      <dgm:spPr/>
      <dgm:t>
        <a:bodyPr/>
        <a:lstStyle/>
        <a:p>
          <a:endParaRPr lang="en-US"/>
        </a:p>
      </dgm:t>
    </dgm:pt>
    <dgm:pt modelId="{EE408FE7-55DA-4DD2-AF86-B751F04B0560}" type="parTrans" cxnId="{98492234-25A1-433B-AC6D-1D609DCBF9E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0E5177C7-801D-471B-9850-4FD8DFBC4036}" type="pres">
      <dgm:prSet presAssocID="{2539C4A6-E1C4-421E-9A76-43A43CD019F1}"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2" destOrd="0" parTransId="{EE408FE7-55DA-4DD2-AF86-B751F04B0560}" sibTransId="{3FBAB6A2-0607-4274-9C0A-0E5D7E46D32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E1127B-6AED-406C-8533-3D786D7E7A36}" type="presParOf" srcId="{97400BD5-14CE-4761-8A6A-64BC46D23158}" destId="{0E5177C7-801D-471B-9850-4FD8DFBC403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lt;Question 1&gt;</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lt;Question 2&gt;</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lt;Question 3&g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lt;Question 4&g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lt;Question 5&gt;</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12E38C0C-EC18-408B-9058-5FC4C73C9243}">
      <dgm:prSet/>
      <dgm:spPr/>
      <dgm:t>
        <a:bodyPr/>
        <a:lstStyle/>
        <a:p>
          <a:r>
            <a:rPr lang="en-US" dirty="0"/>
            <a:t>&lt;Question 6&gt;</a:t>
          </a:r>
        </a:p>
      </dgm:t>
    </dgm:pt>
    <dgm:pt modelId="{5B1D466B-353F-4429-81BF-08F5C6D6AAF3}" type="parTrans" cxnId="{20E8294E-F082-42AB-81B8-F97AFB65D5F6}">
      <dgm:prSet/>
      <dgm:spPr/>
      <dgm:t>
        <a:bodyPr/>
        <a:lstStyle/>
        <a:p>
          <a:endParaRPr lang="en-US"/>
        </a:p>
      </dgm:t>
    </dgm:pt>
    <dgm:pt modelId="{7828ECEC-33A1-43B8-B8E8-F86F14AB62D5}" type="sibTrans" cxnId="{20E8294E-F082-42AB-81B8-F97AFB65D5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6">
        <dgm:presLayoutVars>
          <dgm:chMax val="0"/>
          <dgm:bulletEnabled val="1"/>
        </dgm:presLayoutVars>
      </dgm:prSet>
      <dgm:spPr/>
    </dgm:pt>
    <dgm:pt modelId="{F9501E8F-9A32-4697-8780-05DDF13A58FC}" type="pres">
      <dgm:prSet presAssocID="{02FE5F90-4642-4F58-8B51-624750938668}" presName="spacer" presStyleCnt="0"/>
      <dgm:spPr/>
    </dgm:pt>
    <dgm:pt modelId="{5428FA35-71F9-4C21-98D3-3CA4D776F237}" type="pres">
      <dgm:prSet presAssocID="{12E38C0C-EC18-408B-9058-5FC4C73C9243}"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20E8294E-F082-42AB-81B8-F97AFB65D5F6}" srcId="{15A7774C-B622-4F48-8F7B-AF1AAB74E997}" destId="{12E38C0C-EC18-408B-9058-5FC4C73C9243}" srcOrd="5" destOrd="0" parTransId="{5B1D466B-353F-4429-81BF-08F5C6D6AAF3}" sibTransId="{7828ECEC-33A1-43B8-B8E8-F86F14AB62D5}"/>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0B2A11D2-B3B9-4AC5-AEDB-C056FB67096F}" type="presOf" srcId="{12E38C0C-EC18-408B-9058-5FC4C73C9243}" destId="{5428FA35-71F9-4C21-98D3-3CA4D776F237}"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 modelId="{7DB27656-4AA4-48C5-A26A-DBB0BB3C80C5}" type="presParOf" srcId="{97400BD5-14CE-4761-8A6A-64BC46D23158}" destId="{F9501E8F-9A32-4697-8780-05DDF13A58FC}" srcOrd="9" destOrd="0" presId="urn:microsoft.com/office/officeart/2005/8/layout/vList2"/>
    <dgm:cxn modelId="{B3CC762E-2338-4254-A5CE-EAF5E901F9DC}" type="presParOf" srcId="{97400BD5-14CE-4761-8A6A-64BC46D23158}" destId="{5428FA35-71F9-4C21-98D3-3CA4D776F23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lt;Question 1&gt;</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lt;Question 2&gt;</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lt;Question 3&g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lt;Question 4&g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lt;Question 5&gt;</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12E38C0C-EC18-408B-9058-5FC4C73C9243}">
      <dgm:prSet/>
      <dgm:spPr/>
      <dgm:t>
        <a:bodyPr/>
        <a:lstStyle/>
        <a:p>
          <a:r>
            <a:rPr lang="en-US" dirty="0"/>
            <a:t>&lt;Question 6&gt;</a:t>
          </a:r>
        </a:p>
      </dgm:t>
    </dgm:pt>
    <dgm:pt modelId="{5B1D466B-353F-4429-81BF-08F5C6D6AAF3}" type="parTrans" cxnId="{20E8294E-F082-42AB-81B8-F97AFB65D5F6}">
      <dgm:prSet/>
      <dgm:spPr/>
      <dgm:t>
        <a:bodyPr/>
        <a:lstStyle/>
        <a:p>
          <a:endParaRPr lang="en-US"/>
        </a:p>
      </dgm:t>
    </dgm:pt>
    <dgm:pt modelId="{7828ECEC-33A1-43B8-B8E8-F86F14AB62D5}" type="sibTrans" cxnId="{20E8294E-F082-42AB-81B8-F97AFB65D5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6">
        <dgm:presLayoutVars>
          <dgm:chMax val="0"/>
          <dgm:bulletEnabled val="1"/>
        </dgm:presLayoutVars>
      </dgm:prSet>
      <dgm:spPr/>
    </dgm:pt>
    <dgm:pt modelId="{F9501E8F-9A32-4697-8780-05DDF13A58FC}" type="pres">
      <dgm:prSet presAssocID="{02FE5F90-4642-4F58-8B51-624750938668}" presName="spacer" presStyleCnt="0"/>
      <dgm:spPr/>
    </dgm:pt>
    <dgm:pt modelId="{5428FA35-71F9-4C21-98D3-3CA4D776F237}" type="pres">
      <dgm:prSet presAssocID="{12E38C0C-EC18-408B-9058-5FC4C73C9243}"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20E8294E-F082-42AB-81B8-F97AFB65D5F6}" srcId="{15A7774C-B622-4F48-8F7B-AF1AAB74E997}" destId="{12E38C0C-EC18-408B-9058-5FC4C73C9243}" srcOrd="5" destOrd="0" parTransId="{5B1D466B-353F-4429-81BF-08F5C6D6AAF3}" sibTransId="{7828ECEC-33A1-43B8-B8E8-F86F14AB62D5}"/>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0B2A11D2-B3B9-4AC5-AEDB-C056FB67096F}" type="presOf" srcId="{12E38C0C-EC18-408B-9058-5FC4C73C9243}" destId="{5428FA35-71F9-4C21-98D3-3CA4D776F237}"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 modelId="{7DB27656-4AA4-48C5-A26A-DBB0BB3C80C5}" type="presParOf" srcId="{97400BD5-14CE-4761-8A6A-64BC46D23158}" destId="{F9501E8F-9A32-4697-8780-05DDF13A58FC}" srcOrd="9" destOrd="0" presId="urn:microsoft.com/office/officeart/2005/8/layout/vList2"/>
    <dgm:cxn modelId="{B3CC762E-2338-4254-A5CE-EAF5E901F9DC}" type="presParOf" srcId="{97400BD5-14CE-4761-8A6A-64BC46D23158}" destId="{5428FA35-71F9-4C21-98D3-3CA4D776F23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lt;Question 1&gt;</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lt;Question 2&gt;</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lt;Question 3&g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lt;Question 4&g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lt;Question 5&gt;</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12E38C0C-EC18-408B-9058-5FC4C73C9243}">
      <dgm:prSet/>
      <dgm:spPr/>
      <dgm:t>
        <a:bodyPr/>
        <a:lstStyle/>
        <a:p>
          <a:r>
            <a:rPr lang="en-US" dirty="0"/>
            <a:t>&lt;Question 6&gt;</a:t>
          </a:r>
        </a:p>
      </dgm:t>
    </dgm:pt>
    <dgm:pt modelId="{5B1D466B-353F-4429-81BF-08F5C6D6AAF3}" type="parTrans" cxnId="{20E8294E-F082-42AB-81B8-F97AFB65D5F6}">
      <dgm:prSet/>
      <dgm:spPr/>
      <dgm:t>
        <a:bodyPr/>
        <a:lstStyle/>
        <a:p>
          <a:endParaRPr lang="en-US"/>
        </a:p>
      </dgm:t>
    </dgm:pt>
    <dgm:pt modelId="{7828ECEC-33A1-43B8-B8E8-F86F14AB62D5}" type="sibTrans" cxnId="{20E8294E-F082-42AB-81B8-F97AFB65D5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6">
        <dgm:presLayoutVars>
          <dgm:chMax val="0"/>
          <dgm:bulletEnabled val="1"/>
        </dgm:presLayoutVars>
      </dgm:prSet>
      <dgm:spPr/>
    </dgm:pt>
    <dgm:pt modelId="{F9501E8F-9A32-4697-8780-05DDF13A58FC}" type="pres">
      <dgm:prSet presAssocID="{02FE5F90-4642-4F58-8B51-624750938668}" presName="spacer" presStyleCnt="0"/>
      <dgm:spPr/>
    </dgm:pt>
    <dgm:pt modelId="{5428FA35-71F9-4C21-98D3-3CA4D776F237}" type="pres">
      <dgm:prSet presAssocID="{12E38C0C-EC18-408B-9058-5FC4C73C9243}"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20E8294E-F082-42AB-81B8-F97AFB65D5F6}" srcId="{15A7774C-B622-4F48-8F7B-AF1AAB74E997}" destId="{12E38C0C-EC18-408B-9058-5FC4C73C9243}" srcOrd="5" destOrd="0" parTransId="{5B1D466B-353F-4429-81BF-08F5C6D6AAF3}" sibTransId="{7828ECEC-33A1-43B8-B8E8-F86F14AB62D5}"/>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0B2A11D2-B3B9-4AC5-AEDB-C056FB67096F}" type="presOf" srcId="{12E38C0C-EC18-408B-9058-5FC4C73C9243}" destId="{5428FA35-71F9-4C21-98D3-3CA4D776F237}"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 modelId="{7DB27656-4AA4-48C5-A26A-DBB0BB3C80C5}" type="presParOf" srcId="{97400BD5-14CE-4761-8A6A-64BC46D23158}" destId="{F9501E8F-9A32-4697-8780-05DDF13A58FC}" srcOrd="9" destOrd="0" presId="urn:microsoft.com/office/officeart/2005/8/layout/vList2"/>
    <dgm:cxn modelId="{B3CC762E-2338-4254-A5CE-EAF5E901F9DC}" type="presParOf" srcId="{97400BD5-14CE-4761-8A6A-64BC46D23158}" destId="{5428FA35-71F9-4C21-98D3-3CA4D776F23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1AA414A-E381-46BA-B9F9-6E68B13928EF}"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E340D3C8-042F-43F0-A988-1EC222B0613B}">
      <dgm:prSet/>
      <dgm:spPr/>
      <dgm:t>
        <a:bodyPr/>
        <a:lstStyle/>
        <a:p>
          <a:r>
            <a:rPr lang="en-US" dirty="0"/>
            <a:t>Automatically index every property of every record </a:t>
          </a:r>
        </a:p>
      </dgm:t>
    </dgm:pt>
    <dgm:pt modelId="{395B98FB-B403-4762-9AD8-3AA0475FD8C9}" type="parTrans" cxnId="{903EE73F-683D-443A-9BA0-D2910E9206D7}">
      <dgm:prSet/>
      <dgm:spPr/>
      <dgm:t>
        <a:bodyPr/>
        <a:lstStyle/>
        <a:p>
          <a:endParaRPr lang="en-US"/>
        </a:p>
      </dgm:t>
    </dgm:pt>
    <dgm:pt modelId="{5489AD63-546E-4046-8255-CB2AEEE0A0E6}" type="sibTrans" cxnId="{903EE73F-683D-443A-9BA0-D2910E9206D7}">
      <dgm:prSet/>
      <dgm:spPr/>
      <dgm:t>
        <a:bodyPr/>
        <a:lstStyle/>
        <a:p>
          <a:endParaRPr lang="en-US"/>
        </a:p>
      </dgm:t>
    </dgm:pt>
    <dgm:pt modelId="{87608212-364C-4C90-BDCC-A31D5365E004}">
      <dgm:prSet/>
      <dgm:spPr/>
      <dgm:t>
        <a:bodyPr/>
        <a:lstStyle/>
        <a:p>
          <a:r>
            <a:rPr lang="en-US"/>
            <a:t>No need for schema and index management</a:t>
          </a:r>
        </a:p>
      </dgm:t>
    </dgm:pt>
    <dgm:pt modelId="{CC2FF267-8B05-4E50-A569-7FD76461A156}" type="parTrans" cxnId="{06899D2E-541C-469E-A99D-C7E324CE37FA}">
      <dgm:prSet/>
      <dgm:spPr/>
      <dgm:t>
        <a:bodyPr/>
        <a:lstStyle/>
        <a:p>
          <a:endParaRPr lang="en-US"/>
        </a:p>
      </dgm:t>
    </dgm:pt>
    <dgm:pt modelId="{58F46293-07C1-4524-BA7C-D04C44EA2433}" type="sibTrans" cxnId="{06899D2E-541C-469E-A99D-C7E324CE37FA}">
      <dgm:prSet/>
      <dgm:spPr/>
      <dgm:t>
        <a:bodyPr/>
        <a:lstStyle/>
        <a:p>
          <a:endParaRPr lang="en-US"/>
        </a:p>
      </dgm:t>
    </dgm:pt>
    <dgm:pt modelId="{BF8666C7-6757-43C8-94BF-0BB156BC0403}">
      <dgm:prSet/>
      <dgm:spPr/>
      <dgm:t>
        <a:bodyPr/>
        <a:lstStyle/>
        <a:p>
          <a:r>
            <a:rPr lang="en-US"/>
            <a:t>Latch-free data structure for write-optimized engine</a:t>
          </a:r>
        </a:p>
      </dgm:t>
    </dgm:pt>
    <dgm:pt modelId="{10E2F514-4426-4079-BCB0-B1B2DA63EBAB}" type="parTrans" cxnId="{FCEBE602-2C6F-4976-974C-94C7AD0C5307}">
      <dgm:prSet/>
      <dgm:spPr/>
      <dgm:t>
        <a:bodyPr/>
        <a:lstStyle/>
        <a:p>
          <a:endParaRPr lang="en-US"/>
        </a:p>
      </dgm:t>
    </dgm:pt>
    <dgm:pt modelId="{B32311FC-0936-4BDC-9D5B-A2D7C0044485}" type="sibTrans" cxnId="{FCEBE602-2C6F-4976-974C-94C7AD0C5307}">
      <dgm:prSet/>
      <dgm:spPr/>
      <dgm:t>
        <a:bodyPr/>
        <a:lstStyle/>
        <a:p>
          <a:endParaRPr lang="en-US"/>
        </a:p>
      </dgm:t>
    </dgm:pt>
    <dgm:pt modelId="{A2634A00-C307-4C48-9E4A-0D2FA54DF718}">
      <dgm:prSet/>
      <dgm:spPr/>
      <dgm:t>
        <a:bodyPr/>
        <a:lstStyle/>
        <a:p>
          <a:r>
            <a:rPr lang="en-US"/>
            <a:t>Multiple index types: hash, range, geospatial</a:t>
          </a:r>
        </a:p>
      </dgm:t>
    </dgm:pt>
    <dgm:pt modelId="{8AB94B3A-9D0E-4E74-8687-2AEABE4EDBAF}" type="parTrans" cxnId="{AA8CC07A-3445-48EC-8297-234C2627992D}">
      <dgm:prSet/>
      <dgm:spPr/>
      <dgm:t>
        <a:bodyPr/>
        <a:lstStyle/>
        <a:p>
          <a:endParaRPr lang="en-US"/>
        </a:p>
      </dgm:t>
    </dgm:pt>
    <dgm:pt modelId="{6C8D2ECC-3263-4C7F-B07D-04737D6B0FA4}" type="sibTrans" cxnId="{AA8CC07A-3445-48EC-8297-234C2627992D}">
      <dgm:prSet/>
      <dgm:spPr/>
      <dgm:t>
        <a:bodyPr/>
        <a:lstStyle/>
        <a:p>
          <a:endParaRPr lang="en-US"/>
        </a:p>
      </dgm:t>
    </dgm:pt>
    <dgm:pt modelId="{43C8C9AA-F621-4B8B-A10A-A64126134B8A}" type="pres">
      <dgm:prSet presAssocID="{F1AA414A-E381-46BA-B9F9-6E68B13928EF}" presName="root" presStyleCnt="0">
        <dgm:presLayoutVars>
          <dgm:dir/>
          <dgm:resizeHandles val="exact"/>
        </dgm:presLayoutVars>
      </dgm:prSet>
      <dgm:spPr/>
    </dgm:pt>
    <dgm:pt modelId="{AF02904E-9936-4A93-BA96-343D3DA90506}" type="pres">
      <dgm:prSet presAssocID="{E340D3C8-042F-43F0-A988-1EC222B0613B}" presName="compNode" presStyleCnt="0"/>
      <dgm:spPr/>
    </dgm:pt>
    <dgm:pt modelId="{C9C8067A-F908-4264-BD47-A53B7819A475}" type="pres">
      <dgm:prSet presAssocID="{E340D3C8-042F-43F0-A988-1EC222B0613B}" presName="bgRect" presStyleLbl="bgShp" presStyleIdx="0" presStyleCnt="4"/>
      <dgm:spPr/>
    </dgm:pt>
    <dgm:pt modelId="{1987183C-B86E-4E6C-AC01-84433D68E1FF}" type="pres">
      <dgm:prSet presAssocID="{E340D3C8-042F-43F0-A988-1EC222B0613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64CD3103-2C79-4727-959A-E09FD65839B0}" type="pres">
      <dgm:prSet presAssocID="{E340D3C8-042F-43F0-A988-1EC222B0613B}" presName="spaceRect" presStyleCnt="0"/>
      <dgm:spPr/>
    </dgm:pt>
    <dgm:pt modelId="{E2FFAB1C-F4D0-4F1E-84B9-CC508E178905}" type="pres">
      <dgm:prSet presAssocID="{E340D3C8-042F-43F0-A988-1EC222B0613B}" presName="parTx" presStyleLbl="revTx" presStyleIdx="0" presStyleCnt="4">
        <dgm:presLayoutVars>
          <dgm:chMax val="0"/>
          <dgm:chPref val="0"/>
        </dgm:presLayoutVars>
      </dgm:prSet>
      <dgm:spPr/>
    </dgm:pt>
    <dgm:pt modelId="{D3665E00-BBFE-4985-BD44-5FB21B65347D}" type="pres">
      <dgm:prSet presAssocID="{5489AD63-546E-4046-8255-CB2AEEE0A0E6}" presName="sibTrans" presStyleCnt="0"/>
      <dgm:spPr/>
    </dgm:pt>
    <dgm:pt modelId="{73AEA662-4CC8-42B2-A834-00A708055494}" type="pres">
      <dgm:prSet presAssocID="{87608212-364C-4C90-BDCC-A31D5365E004}" presName="compNode" presStyleCnt="0"/>
      <dgm:spPr/>
    </dgm:pt>
    <dgm:pt modelId="{3C887993-146A-4C07-8144-A75CDE648FD0}" type="pres">
      <dgm:prSet presAssocID="{87608212-364C-4C90-BDCC-A31D5365E004}" presName="bgRect" presStyleLbl="bgShp" presStyleIdx="1" presStyleCnt="4"/>
      <dgm:spPr/>
    </dgm:pt>
    <dgm:pt modelId="{231C92D1-C15A-4948-8518-0D61FA9C2B5D}" type="pres">
      <dgm:prSet presAssocID="{87608212-364C-4C90-BDCC-A31D5365E00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Robot"/>
        </a:ext>
      </dgm:extLst>
    </dgm:pt>
    <dgm:pt modelId="{8500A0DD-A8E9-4454-B90F-CBBA745714D5}" type="pres">
      <dgm:prSet presAssocID="{87608212-364C-4C90-BDCC-A31D5365E004}" presName="spaceRect" presStyleCnt="0"/>
      <dgm:spPr/>
    </dgm:pt>
    <dgm:pt modelId="{1E33858D-B49D-4849-A84B-D02B5E855001}" type="pres">
      <dgm:prSet presAssocID="{87608212-364C-4C90-BDCC-A31D5365E004}" presName="parTx" presStyleLbl="revTx" presStyleIdx="1" presStyleCnt="4">
        <dgm:presLayoutVars>
          <dgm:chMax val="0"/>
          <dgm:chPref val="0"/>
        </dgm:presLayoutVars>
      </dgm:prSet>
      <dgm:spPr/>
    </dgm:pt>
    <dgm:pt modelId="{2098B4F8-0AF9-469F-A390-C21DA476EC43}" type="pres">
      <dgm:prSet presAssocID="{58F46293-07C1-4524-BA7C-D04C44EA2433}" presName="sibTrans" presStyleCnt="0"/>
      <dgm:spPr/>
    </dgm:pt>
    <dgm:pt modelId="{D7C1A10C-EA58-4651-8980-0E0B60071588}" type="pres">
      <dgm:prSet presAssocID="{BF8666C7-6757-43C8-94BF-0BB156BC0403}" presName="compNode" presStyleCnt="0"/>
      <dgm:spPr/>
    </dgm:pt>
    <dgm:pt modelId="{7DFFA013-8D24-4E76-8C39-D6E5BEDFE282}" type="pres">
      <dgm:prSet presAssocID="{BF8666C7-6757-43C8-94BF-0BB156BC0403}" presName="bgRect" presStyleLbl="bgShp" presStyleIdx="2" presStyleCnt="4"/>
      <dgm:spPr/>
    </dgm:pt>
    <dgm:pt modelId="{01CEE0F5-AE6F-4978-AC82-7F5BF02FA685}" type="pres">
      <dgm:prSet presAssocID="{BF8666C7-6757-43C8-94BF-0BB156BC0403}"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iaper change"/>
        </a:ext>
      </dgm:extLst>
    </dgm:pt>
    <dgm:pt modelId="{57C930C6-6BAF-4366-8B1D-45069AB791A6}" type="pres">
      <dgm:prSet presAssocID="{BF8666C7-6757-43C8-94BF-0BB156BC0403}" presName="spaceRect" presStyleCnt="0"/>
      <dgm:spPr/>
    </dgm:pt>
    <dgm:pt modelId="{22C53DBB-B2B3-495E-AAA1-B8EA54052C01}" type="pres">
      <dgm:prSet presAssocID="{BF8666C7-6757-43C8-94BF-0BB156BC0403}" presName="parTx" presStyleLbl="revTx" presStyleIdx="2" presStyleCnt="4">
        <dgm:presLayoutVars>
          <dgm:chMax val="0"/>
          <dgm:chPref val="0"/>
        </dgm:presLayoutVars>
      </dgm:prSet>
      <dgm:spPr/>
    </dgm:pt>
    <dgm:pt modelId="{D7F0CA7A-4ECE-447B-A410-7D5BAC8D7ECD}" type="pres">
      <dgm:prSet presAssocID="{B32311FC-0936-4BDC-9D5B-A2D7C0044485}" presName="sibTrans" presStyleCnt="0"/>
      <dgm:spPr/>
    </dgm:pt>
    <dgm:pt modelId="{4349B2B9-E2E9-4CAD-B7F6-E776FE435F55}" type="pres">
      <dgm:prSet presAssocID="{A2634A00-C307-4C48-9E4A-0D2FA54DF718}" presName="compNode" presStyleCnt="0"/>
      <dgm:spPr/>
    </dgm:pt>
    <dgm:pt modelId="{233F9963-D5B8-4A55-9B91-634B4D43CADA}" type="pres">
      <dgm:prSet presAssocID="{A2634A00-C307-4C48-9E4A-0D2FA54DF718}" presName="bgRect" presStyleLbl="bgShp" presStyleIdx="3" presStyleCnt="4"/>
      <dgm:spPr/>
    </dgm:pt>
    <dgm:pt modelId="{E9D9931D-FD93-4E55-9D4E-B1AF9C914834}" type="pres">
      <dgm:prSet presAssocID="{A2634A00-C307-4C48-9E4A-0D2FA54DF71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uzzle"/>
        </a:ext>
      </dgm:extLst>
    </dgm:pt>
    <dgm:pt modelId="{7E8B4770-E187-4482-ADF6-BCACF8DC1E3C}" type="pres">
      <dgm:prSet presAssocID="{A2634A00-C307-4C48-9E4A-0D2FA54DF718}" presName="spaceRect" presStyleCnt="0"/>
      <dgm:spPr/>
    </dgm:pt>
    <dgm:pt modelId="{283C97E8-96E8-41F2-904E-B79A2634EFA1}" type="pres">
      <dgm:prSet presAssocID="{A2634A00-C307-4C48-9E4A-0D2FA54DF718}" presName="parTx" presStyleLbl="revTx" presStyleIdx="3" presStyleCnt="4">
        <dgm:presLayoutVars>
          <dgm:chMax val="0"/>
          <dgm:chPref val="0"/>
        </dgm:presLayoutVars>
      </dgm:prSet>
      <dgm:spPr/>
    </dgm:pt>
  </dgm:ptLst>
  <dgm:cxnLst>
    <dgm:cxn modelId="{FCEBE602-2C6F-4976-974C-94C7AD0C5307}" srcId="{F1AA414A-E381-46BA-B9F9-6E68B13928EF}" destId="{BF8666C7-6757-43C8-94BF-0BB156BC0403}" srcOrd="2" destOrd="0" parTransId="{10E2F514-4426-4079-BCB0-B1B2DA63EBAB}" sibTransId="{B32311FC-0936-4BDC-9D5B-A2D7C0044485}"/>
    <dgm:cxn modelId="{C3EF440C-FBF8-46E8-8B52-B01720267046}" type="presOf" srcId="{87608212-364C-4C90-BDCC-A31D5365E004}" destId="{1E33858D-B49D-4849-A84B-D02B5E855001}" srcOrd="0" destOrd="0" presId="urn:microsoft.com/office/officeart/2018/2/layout/IconVerticalSolidList"/>
    <dgm:cxn modelId="{06899D2E-541C-469E-A99D-C7E324CE37FA}" srcId="{F1AA414A-E381-46BA-B9F9-6E68B13928EF}" destId="{87608212-364C-4C90-BDCC-A31D5365E004}" srcOrd="1" destOrd="0" parTransId="{CC2FF267-8B05-4E50-A569-7FD76461A156}" sibTransId="{58F46293-07C1-4524-BA7C-D04C44EA2433}"/>
    <dgm:cxn modelId="{903EE73F-683D-443A-9BA0-D2910E9206D7}" srcId="{F1AA414A-E381-46BA-B9F9-6E68B13928EF}" destId="{E340D3C8-042F-43F0-A988-1EC222B0613B}" srcOrd="0" destOrd="0" parTransId="{395B98FB-B403-4762-9AD8-3AA0475FD8C9}" sibTransId="{5489AD63-546E-4046-8255-CB2AEEE0A0E6}"/>
    <dgm:cxn modelId="{0A3A8A77-4898-4D60-A450-E1A564D82B78}" type="presOf" srcId="{A2634A00-C307-4C48-9E4A-0D2FA54DF718}" destId="{283C97E8-96E8-41F2-904E-B79A2634EFA1}" srcOrd="0" destOrd="0" presId="urn:microsoft.com/office/officeart/2018/2/layout/IconVerticalSolidList"/>
    <dgm:cxn modelId="{AA8CC07A-3445-48EC-8297-234C2627992D}" srcId="{F1AA414A-E381-46BA-B9F9-6E68B13928EF}" destId="{A2634A00-C307-4C48-9E4A-0D2FA54DF718}" srcOrd="3" destOrd="0" parTransId="{8AB94B3A-9D0E-4E74-8687-2AEABE4EDBAF}" sibTransId="{6C8D2ECC-3263-4C7F-B07D-04737D6B0FA4}"/>
    <dgm:cxn modelId="{E9ED529E-EE5B-422D-B2F8-3636B87ACBC3}" type="presOf" srcId="{BF8666C7-6757-43C8-94BF-0BB156BC0403}" destId="{22C53DBB-B2B3-495E-AAA1-B8EA54052C01}" srcOrd="0" destOrd="0" presId="urn:microsoft.com/office/officeart/2018/2/layout/IconVerticalSolidList"/>
    <dgm:cxn modelId="{DD8A15DB-52FA-421F-83EE-D3B86E926DDC}" type="presOf" srcId="{F1AA414A-E381-46BA-B9F9-6E68B13928EF}" destId="{43C8C9AA-F621-4B8B-A10A-A64126134B8A}" srcOrd="0" destOrd="0" presId="urn:microsoft.com/office/officeart/2018/2/layout/IconVerticalSolidList"/>
    <dgm:cxn modelId="{1B585AFF-FF4D-4957-BBCB-D765BABDC07C}" type="presOf" srcId="{E340D3C8-042F-43F0-A988-1EC222B0613B}" destId="{E2FFAB1C-F4D0-4F1E-84B9-CC508E178905}" srcOrd="0" destOrd="0" presId="urn:microsoft.com/office/officeart/2018/2/layout/IconVerticalSolidList"/>
    <dgm:cxn modelId="{9176DCFE-AD82-4A96-A6AB-06E4DA52D222}" type="presParOf" srcId="{43C8C9AA-F621-4B8B-A10A-A64126134B8A}" destId="{AF02904E-9936-4A93-BA96-343D3DA90506}" srcOrd="0" destOrd="0" presId="urn:microsoft.com/office/officeart/2018/2/layout/IconVerticalSolidList"/>
    <dgm:cxn modelId="{E1F0091E-C709-4A4F-BC83-10406135FF76}" type="presParOf" srcId="{AF02904E-9936-4A93-BA96-343D3DA90506}" destId="{C9C8067A-F908-4264-BD47-A53B7819A475}" srcOrd="0" destOrd="0" presId="urn:microsoft.com/office/officeart/2018/2/layout/IconVerticalSolidList"/>
    <dgm:cxn modelId="{7A738A54-3222-4B11-B50E-0CE2AF664F1C}" type="presParOf" srcId="{AF02904E-9936-4A93-BA96-343D3DA90506}" destId="{1987183C-B86E-4E6C-AC01-84433D68E1FF}" srcOrd="1" destOrd="0" presId="urn:microsoft.com/office/officeart/2018/2/layout/IconVerticalSolidList"/>
    <dgm:cxn modelId="{6C9E6E1E-2BCC-4F45-8D45-214BBE7A3F5D}" type="presParOf" srcId="{AF02904E-9936-4A93-BA96-343D3DA90506}" destId="{64CD3103-2C79-4727-959A-E09FD65839B0}" srcOrd="2" destOrd="0" presId="urn:microsoft.com/office/officeart/2018/2/layout/IconVerticalSolidList"/>
    <dgm:cxn modelId="{0862FBFF-23CD-4C9B-A2E0-E1C78A64C8F4}" type="presParOf" srcId="{AF02904E-9936-4A93-BA96-343D3DA90506}" destId="{E2FFAB1C-F4D0-4F1E-84B9-CC508E178905}" srcOrd="3" destOrd="0" presId="urn:microsoft.com/office/officeart/2018/2/layout/IconVerticalSolidList"/>
    <dgm:cxn modelId="{D7189E59-9B31-45F2-9E26-5C156E1FA14D}" type="presParOf" srcId="{43C8C9AA-F621-4B8B-A10A-A64126134B8A}" destId="{D3665E00-BBFE-4985-BD44-5FB21B65347D}" srcOrd="1" destOrd="0" presId="urn:microsoft.com/office/officeart/2018/2/layout/IconVerticalSolidList"/>
    <dgm:cxn modelId="{9910A4CD-B57E-4D09-89CB-257E371EFA5A}" type="presParOf" srcId="{43C8C9AA-F621-4B8B-A10A-A64126134B8A}" destId="{73AEA662-4CC8-42B2-A834-00A708055494}" srcOrd="2" destOrd="0" presId="urn:microsoft.com/office/officeart/2018/2/layout/IconVerticalSolidList"/>
    <dgm:cxn modelId="{EEE5DF5E-EC43-4B43-B3A3-73EA4D8EFB24}" type="presParOf" srcId="{73AEA662-4CC8-42B2-A834-00A708055494}" destId="{3C887993-146A-4C07-8144-A75CDE648FD0}" srcOrd="0" destOrd="0" presId="urn:microsoft.com/office/officeart/2018/2/layout/IconVerticalSolidList"/>
    <dgm:cxn modelId="{23DE33B1-2E85-4C1C-B01D-558376EF5C3B}" type="presParOf" srcId="{73AEA662-4CC8-42B2-A834-00A708055494}" destId="{231C92D1-C15A-4948-8518-0D61FA9C2B5D}" srcOrd="1" destOrd="0" presId="urn:microsoft.com/office/officeart/2018/2/layout/IconVerticalSolidList"/>
    <dgm:cxn modelId="{7EB988CC-839F-4D17-9E61-887C1A284C09}" type="presParOf" srcId="{73AEA662-4CC8-42B2-A834-00A708055494}" destId="{8500A0DD-A8E9-4454-B90F-CBBA745714D5}" srcOrd="2" destOrd="0" presId="urn:microsoft.com/office/officeart/2018/2/layout/IconVerticalSolidList"/>
    <dgm:cxn modelId="{412E9ADA-8899-4C03-95F5-682917BAAAC0}" type="presParOf" srcId="{73AEA662-4CC8-42B2-A834-00A708055494}" destId="{1E33858D-B49D-4849-A84B-D02B5E855001}" srcOrd="3" destOrd="0" presId="urn:microsoft.com/office/officeart/2018/2/layout/IconVerticalSolidList"/>
    <dgm:cxn modelId="{410BF2D8-F90F-4EB1-9191-6529ABDD3A26}" type="presParOf" srcId="{43C8C9AA-F621-4B8B-A10A-A64126134B8A}" destId="{2098B4F8-0AF9-469F-A390-C21DA476EC43}" srcOrd="3" destOrd="0" presId="urn:microsoft.com/office/officeart/2018/2/layout/IconVerticalSolidList"/>
    <dgm:cxn modelId="{7BA5B4AB-B2B6-4CC0-8A95-41A6FD617984}" type="presParOf" srcId="{43C8C9AA-F621-4B8B-A10A-A64126134B8A}" destId="{D7C1A10C-EA58-4651-8980-0E0B60071588}" srcOrd="4" destOrd="0" presId="urn:microsoft.com/office/officeart/2018/2/layout/IconVerticalSolidList"/>
    <dgm:cxn modelId="{A407D7BB-2022-4398-81EF-C091E36C79ED}" type="presParOf" srcId="{D7C1A10C-EA58-4651-8980-0E0B60071588}" destId="{7DFFA013-8D24-4E76-8C39-D6E5BEDFE282}" srcOrd="0" destOrd="0" presId="urn:microsoft.com/office/officeart/2018/2/layout/IconVerticalSolidList"/>
    <dgm:cxn modelId="{3AC30C82-7192-4ED1-A378-E28154546BE2}" type="presParOf" srcId="{D7C1A10C-EA58-4651-8980-0E0B60071588}" destId="{01CEE0F5-AE6F-4978-AC82-7F5BF02FA685}" srcOrd="1" destOrd="0" presId="urn:microsoft.com/office/officeart/2018/2/layout/IconVerticalSolidList"/>
    <dgm:cxn modelId="{3EB587D1-D0A5-41E8-9573-02A11A1AABDA}" type="presParOf" srcId="{D7C1A10C-EA58-4651-8980-0E0B60071588}" destId="{57C930C6-6BAF-4366-8B1D-45069AB791A6}" srcOrd="2" destOrd="0" presId="urn:microsoft.com/office/officeart/2018/2/layout/IconVerticalSolidList"/>
    <dgm:cxn modelId="{07459F60-52E5-44D5-8519-9B2E1FB2199B}" type="presParOf" srcId="{D7C1A10C-EA58-4651-8980-0E0B60071588}" destId="{22C53DBB-B2B3-495E-AAA1-B8EA54052C01}" srcOrd="3" destOrd="0" presId="urn:microsoft.com/office/officeart/2018/2/layout/IconVerticalSolidList"/>
    <dgm:cxn modelId="{8F4499E1-B13A-4240-972C-7B91F37054AE}" type="presParOf" srcId="{43C8C9AA-F621-4B8B-A10A-A64126134B8A}" destId="{D7F0CA7A-4ECE-447B-A410-7D5BAC8D7ECD}" srcOrd="5" destOrd="0" presId="urn:microsoft.com/office/officeart/2018/2/layout/IconVerticalSolidList"/>
    <dgm:cxn modelId="{05A31C79-88E3-4CB4-B627-5BC5326FA471}" type="presParOf" srcId="{43C8C9AA-F621-4B8B-A10A-A64126134B8A}" destId="{4349B2B9-E2E9-4CAD-B7F6-E776FE435F55}" srcOrd="6" destOrd="0" presId="urn:microsoft.com/office/officeart/2018/2/layout/IconVerticalSolidList"/>
    <dgm:cxn modelId="{F9254FA2-6993-4F45-8165-2FD7192B8079}" type="presParOf" srcId="{4349B2B9-E2E9-4CAD-B7F6-E776FE435F55}" destId="{233F9963-D5B8-4A55-9B91-634B4D43CADA}" srcOrd="0" destOrd="0" presId="urn:microsoft.com/office/officeart/2018/2/layout/IconVerticalSolidList"/>
    <dgm:cxn modelId="{9B549725-2611-45BC-B39C-BA8C79ED170A}" type="presParOf" srcId="{4349B2B9-E2E9-4CAD-B7F6-E776FE435F55}" destId="{E9D9931D-FD93-4E55-9D4E-B1AF9C914834}" srcOrd="1" destOrd="0" presId="urn:microsoft.com/office/officeart/2018/2/layout/IconVerticalSolidList"/>
    <dgm:cxn modelId="{7310FFBE-6E29-475F-A247-228C31A9C5AB}" type="presParOf" srcId="{4349B2B9-E2E9-4CAD-B7F6-E776FE435F55}" destId="{7E8B4770-E187-4482-ADF6-BCACF8DC1E3C}" srcOrd="2" destOrd="0" presId="urn:microsoft.com/office/officeart/2018/2/layout/IconVerticalSolidList"/>
    <dgm:cxn modelId="{066F75D4-10EB-47B5-8289-302B0A92A4B9}" type="presParOf" srcId="{4349B2B9-E2E9-4CAD-B7F6-E776FE435F55}" destId="{283C97E8-96E8-41F2-904E-B79A2634EFA1}"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BADCE0-E871-4729-A7C3-4CCD86F4C6FE}">
      <dsp:nvSpPr>
        <dsp:cNvPr id="0" name=""/>
        <dsp:cNvSpPr/>
      </dsp:nvSpPr>
      <dsp:spPr>
        <a:xfrm>
          <a:off x="0"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a:t>Throuput Currency</a:t>
          </a:r>
        </a:p>
      </dsp:txBody>
      <dsp:txXfrm>
        <a:off x="0" y="199677"/>
        <a:ext cx="3400226" cy="2040136"/>
      </dsp:txXfrm>
    </dsp:sp>
    <dsp:sp modelId="{73EC6330-F0CF-4FB6-9187-9B8549AAE69F}">
      <dsp:nvSpPr>
        <dsp:cNvPr id="0" name=""/>
        <dsp:cNvSpPr/>
      </dsp:nvSpPr>
      <dsp:spPr>
        <a:xfrm>
          <a:off x="3740249"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a:t>Abstracts physical resources for predictable performance</a:t>
          </a:r>
        </a:p>
      </dsp:txBody>
      <dsp:txXfrm>
        <a:off x="3740249" y="199677"/>
        <a:ext cx="3400226" cy="2040136"/>
      </dsp:txXfrm>
    </dsp:sp>
    <dsp:sp modelId="{2071A237-332F-4094-8370-48CD9A4DAE70}">
      <dsp:nvSpPr>
        <dsp:cNvPr id="0" name=""/>
        <dsp:cNvSpPr/>
      </dsp:nvSpPr>
      <dsp:spPr>
        <a:xfrm>
          <a:off x="7480499"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a:t>1 RU = processing required to read a 1 KB item</a:t>
          </a:r>
        </a:p>
      </dsp:txBody>
      <dsp:txXfrm>
        <a:off x="7480499" y="199677"/>
        <a:ext cx="3400226" cy="2040136"/>
      </dsp:txXfrm>
    </dsp:sp>
    <dsp:sp modelId="{3E80459E-C25F-4D24-9333-74FA78B2E152}">
      <dsp:nvSpPr>
        <dsp:cNvPr id="0" name=""/>
        <dsp:cNvSpPr/>
      </dsp:nvSpPr>
      <dsp:spPr>
        <a:xfrm>
          <a:off x="1870124" y="2579836"/>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a:t>Reserved amount of guaranteed request units</a:t>
          </a:r>
        </a:p>
      </dsp:txBody>
      <dsp:txXfrm>
        <a:off x="1870124" y="2579836"/>
        <a:ext cx="3400226" cy="2040136"/>
      </dsp:txXfrm>
    </dsp:sp>
    <dsp:sp modelId="{A94C2F05-EB04-404D-AEBB-457584AACCAD}">
      <dsp:nvSpPr>
        <dsp:cNvPr id="0" name=""/>
        <dsp:cNvSpPr/>
      </dsp:nvSpPr>
      <dsp:spPr>
        <a:xfrm>
          <a:off x="5610374" y="2579836"/>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a:t>Specify RU/second for each collection</a:t>
          </a:r>
        </a:p>
      </dsp:txBody>
      <dsp:txXfrm>
        <a:off x="5610374" y="2579836"/>
        <a:ext cx="3400226" cy="204013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3639AB-085C-4428-B65C-A361C96A1BC4}">
      <dsp:nvSpPr>
        <dsp:cNvPr id="0" name=""/>
        <dsp:cNvSpPr/>
      </dsp:nvSpPr>
      <dsp:spPr>
        <a:xfrm>
          <a:off x="2176145" y="2164"/>
          <a:ext cx="8704580" cy="949501"/>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8893" tIns="241173" rIns="168893" bIns="241173" numCol="1" spcCol="1270" anchor="ctr" anchorCtr="0">
          <a:noAutofit/>
        </a:bodyPr>
        <a:lstStyle/>
        <a:p>
          <a:pPr marL="0" lvl="0" indent="0" algn="l" defTabSz="488950">
            <a:lnSpc>
              <a:spcPct val="90000"/>
            </a:lnSpc>
            <a:spcBef>
              <a:spcPct val="0"/>
            </a:spcBef>
            <a:spcAft>
              <a:spcPct val="35000"/>
            </a:spcAft>
            <a:buNone/>
          </a:pPr>
          <a:r>
            <a:rPr lang="en-US" sz="1100" kern="1200" dirty="0"/>
            <a:t>Default path for collection. Recursive and applies to the entire document tree.</a:t>
          </a:r>
        </a:p>
      </dsp:txBody>
      <dsp:txXfrm>
        <a:off x="2176145" y="2164"/>
        <a:ext cx="8704580" cy="949501"/>
      </dsp:txXfrm>
    </dsp:sp>
    <dsp:sp modelId="{A54EB73F-D829-42CD-9875-78C78CC24C63}">
      <dsp:nvSpPr>
        <dsp:cNvPr id="0" name=""/>
        <dsp:cNvSpPr/>
      </dsp:nvSpPr>
      <dsp:spPr>
        <a:xfrm>
          <a:off x="0" y="2164"/>
          <a:ext cx="2176145" cy="949501"/>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5154" tIns="93790" rIns="115154" bIns="93790" numCol="1" spcCol="1270" anchor="ctr" anchorCtr="0">
          <a:noAutofit/>
        </a:bodyPr>
        <a:lstStyle/>
        <a:p>
          <a:pPr marL="0" lvl="0" indent="0" algn="ctr" defTabSz="889000">
            <a:lnSpc>
              <a:spcPct val="90000"/>
            </a:lnSpc>
            <a:spcBef>
              <a:spcPct val="0"/>
            </a:spcBef>
            <a:spcAft>
              <a:spcPct val="35000"/>
            </a:spcAft>
            <a:buNone/>
          </a:pPr>
          <a:r>
            <a:rPr lang="en-US" sz="2000" kern="1200"/>
            <a:t>/</a:t>
          </a:r>
        </a:p>
      </dsp:txBody>
      <dsp:txXfrm>
        <a:off x="0" y="2164"/>
        <a:ext cx="2176145" cy="949501"/>
      </dsp:txXfrm>
    </dsp:sp>
    <dsp:sp modelId="{C960C195-DC8E-4506-9853-CDED0ECB9FF9}">
      <dsp:nvSpPr>
        <dsp:cNvPr id="0" name=""/>
        <dsp:cNvSpPr/>
      </dsp:nvSpPr>
      <dsp:spPr>
        <a:xfrm>
          <a:off x="2176145" y="1008635"/>
          <a:ext cx="8704580" cy="949501"/>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8893" tIns="241173" rIns="168893" bIns="241173" numCol="1" spcCol="1270" anchor="ctr" anchorCtr="0">
          <a:noAutofit/>
        </a:bodyPr>
        <a:lstStyle/>
        <a:p>
          <a:pPr marL="0" lvl="0" indent="0" algn="l" defTabSz="488950">
            <a:lnSpc>
              <a:spcPct val="90000"/>
            </a:lnSpc>
            <a:spcBef>
              <a:spcPct val="0"/>
            </a:spcBef>
            <a:spcAft>
              <a:spcPct val="35000"/>
            </a:spcAft>
            <a:buNone/>
          </a:pPr>
          <a:r>
            <a:rPr lang="en-US" sz="1100" kern="1200"/>
            <a:t>Index path required to serve queries at this level</a:t>
          </a:r>
        </a:p>
        <a:p>
          <a:pPr marL="57150" lvl="1" indent="-57150" algn="l" defTabSz="444500">
            <a:lnSpc>
              <a:spcPct val="90000"/>
            </a:lnSpc>
            <a:spcBef>
              <a:spcPct val="0"/>
            </a:spcBef>
            <a:spcAft>
              <a:spcPct val="15000"/>
            </a:spcAft>
            <a:buChar char="•"/>
          </a:pPr>
          <a:r>
            <a:rPr lang="en-US" sz="1000" kern="1200" dirty="0"/>
            <a:t>SELECT FROM collection c WHERE </a:t>
          </a:r>
          <a:r>
            <a:rPr lang="en-US" sz="1000" kern="1200" dirty="0" err="1"/>
            <a:t>c.prop</a:t>
          </a:r>
          <a:r>
            <a:rPr lang="en-US" sz="1000" kern="1200" dirty="0"/>
            <a:t> = "value“</a:t>
          </a:r>
        </a:p>
        <a:p>
          <a:pPr marL="57150" lvl="1" indent="-57150" algn="l" defTabSz="444500">
            <a:lnSpc>
              <a:spcPct val="90000"/>
            </a:lnSpc>
            <a:spcBef>
              <a:spcPct val="0"/>
            </a:spcBef>
            <a:spcAft>
              <a:spcPct val="15000"/>
            </a:spcAft>
            <a:buChar char="•"/>
          </a:pPr>
          <a:r>
            <a:rPr lang="en-US" sz="1000" kern="1200" dirty="0"/>
            <a:t>SELECT FROM collection c WHERE </a:t>
          </a:r>
          <a:r>
            <a:rPr lang="en-US" sz="1000" kern="1200" dirty="0" err="1"/>
            <a:t>c.prop</a:t>
          </a:r>
          <a:r>
            <a:rPr lang="en-US" sz="1000" kern="1200" dirty="0"/>
            <a:t> &gt; 5</a:t>
          </a:r>
        </a:p>
        <a:p>
          <a:pPr marL="57150" lvl="1" indent="-57150" algn="l" defTabSz="444500">
            <a:lnSpc>
              <a:spcPct val="90000"/>
            </a:lnSpc>
            <a:spcBef>
              <a:spcPct val="0"/>
            </a:spcBef>
            <a:spcAft>
              <a:spcPct val="15000"/>
            </a:spcAft>
            <a:buChar char="•"/>
          </a:pPr>
          <a:r>
            <a:rPr lang="en-US" sz="1000" kern="1200" dirty="0"/>
            <a:t>SELECT FROM collection c ORDER BY </a:t>
          </a:r>
          <a:r>
            <a:rPr lang="en-US" sz="1000" kern="1200" dirty="0" err="1"/>
            <a:t>c.prop</a:t>
          </a:r>
          <a:endParaRPr lang="en-US" sz="1000" kern="1200" dirty="0"/>
        </a:p>
      </dsp:txBody>
      <dsp:txXfrm>
        <a:off x="2176145" y="1008635"/>
        <a:ext cx="8704580" cy="949501"/>
      </dsp:txXfrm>
    </dsp:sp>
    <dsp:sp modelId="{9419E554-99FB-475C-8266-7F7DB49EC9C3}">
      <dsp:nvSpPr>
        <dsp:cNvPr id="0" name=""/>
        <dsp:cNvSpPr/>
      </dsp:nvSpPr>
      <dsp:spPr>
        <a:xfrm>
          <a:off x="0" y="1008635"/>
          <a:ext cx="2176145" cy="949501"/>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5154" tIns="93790" rIns="115154" bIns="93790" numCol="1" spcCol="1270" anchor="ctr" anchorCtr="0">
          <a:noAutofit/>
        </a:bodyPr>
        <a:lstStyle/>
        <a:p>
          <a:pPr marL="0" lvl="0" indent="0" algn="ctr" defTabSz="889000">
            <a:lnSpc>
              <a:spcPct val="90000"/>
            </a:lnSpc>
            <a:spcBef>
              <a:spcPct val="0"/>
            </a:spcBef>
            <a:spcAft>
              <a:spcPct val="35000"/>
            </a:spcAft>
            <a:buNone/>
          </a:pPr>
          <a:r>
            <a:rPr lang="en-US" sz="2000" kern="1200"/>
            <a:t>/prop/?</a:t>
          </a:r>
        </a:p>
      </dsp:txBody>
      <dsp:txXfrm>
        <a:off x="0" y="1008635"/>
        <a:ext cx="2176145" cy="949501"/>
      </dsp:txXfrm>
    </dsp:sp>
    <dsp:sp modelId="{BC8A089F-0BD5-42B9-9E0F-750F7FA4B993}">
      <dsp:nvSpPr>
        <dsp:cNvPr id="0" name=""/>
        <dsp:cNvSpPr/>
      </dsp:nvSpPr>
      <dsp:spPr>
        <a:xfrm>
          <a:off x="2176145" y="2036765"/>
          <a:ext cx="8704580" cy="906185"/>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8893" tIns="241173" rIns="168893" bIns="241173" numCol="1" spcCol="1270" anchor="ctr" anchorCtr="0">
          <a:noAutofit/>
        </a:bodyPr>
        <a:lstStyle/>
        <a:p>
          <a:pPr marL="0" lvl="0" indent="0" algn="l" defTabSz="488950">
            <a:lnSpc>
              <a:spcPct val="90000"/>
            </a:lnSpc>
            <a:spcBef>
              <a:spcPct val="0"/>
            </a:spcBef>
            <a:spcAft>
              <a:spcPct val="35000"/>
            </a:spcAft>
            <a:buNone/>
          </a:pPr>
          <a:r>
            <a:rPr lang="en-US" sz="1100" kern="1200" dirty="0"/>
            <a:t>Index path for all paths under the specified label.</a:t>
          </a:r>
          <a:endParaRPr lang="en-US" sz="1050" kern="1200" dirty="0"/>
        </a:p>
        <a:p>
          <a:pPr marL="57150" lvl="1" indent="-57150" algn="l" defTabSz="444500">
            <a:lnSpc>
              <a:spcPct val="90000"/>
            </a:lnSpc>
            <a:spcBef>
              <a:spcPct val="0"/>
            </a:spcBef>
            <a:spcAft>
              <a:spcPct val="15000"/>
            </a:spcAft>
            <a:buFont typeface="Arial" panose="020B0604020202020204" pitchFamily="34" charset="0"/>
            <a:buChar char="•"/>
          </a:pPr>
          <a:r>
            <a:rPr lang="en-US" sz="1000" kern="1200" dirty="0"/>
            <a:t>SELECT FROM collection c WHERE </a:t>
          </a:r>
          <a:r>
            <a:rPr lang="en-US" sz="1000" kern="1200" dirty="0" err="1"/>
            <a:t>c.prop</a:t>
          </a:r>
          <a:r>
            <a:rPr lang="en-US" sz="1000" kern="1200" dirty="0"/>
            <a:t> = "value"</a:t>
          </a:r>
        </a:p>
        <a:p>
          <a:pPr marL="57150" lvl="1" indent="-57150" algn="l" defTabSz="444500">
            <a:lnSpc>
              <a:spcPct val="90000"/>
            </a:lnSpc>
            <a:spcBef>
              <a:spcPct val="0"/>
            </a:spcBef>
            <a:spcAft>
              <a:spcPct val="15000"/>
            </a:spcAft>
            <a:buChar char="•"/>
          </a:pPr>
          <a:r>
            <a:rPr lang="en-US" sz="1000" kern="1200" dirty="0"/>
            <a:t>SELECT FROM collection c WHERE </a:t>
          </a:r>
          <a:r>
            <a:rPr lang="en-US" sz="1000" kern="1200" dirty="0" err="1"/>
            <a:t>c.prop.subprop</a:t>
          </a:r>
          <a:r>
            <a:rPr lang="en-US" sz="1000" kern="1200" dirty="0"/>
            <a:t> &gt; 5</a:t>
          </a:r>
        </a:p>
        <a:p>
          <a:pPr marL="57150" lvl="1" indent="-57150" algn="l" defTabSz="444500">
            <a:lnSpc>
              <a:spcPct val="90000"/>
            </a:lnSpc>
            <a:spcBef>
              <a:spcPct val="0"/>
            </a:spcBef>
            <a:spcAft>
              <a:spcPct val="15000"/>
            </a:spcAft>
            <a:buChar char="•"/>
          </a:pPr>
          <a:r>
            <a:rPr lang="en-US" sz="1000" kern="1200" dirty="0"/>
            <a:t>SELECT FROM collection c WHERE </a:t>
          </a:r>
          <a:r>
            <a:rPr lang="en-US" sz="1000" kern="1200" dirty="0" err="1"/>
            <a:t>c.prop.subprop.nextprop</a:t>
          </a:r>
          <a:r>
            <a:rPr lang="en-US" sz="1000" kern="1200" dirty="0"/>
            <a:t> = "value</a:t>
          </a:r>
          <a:r>
            <a:rPr lang="en-US" sz="900" kern="1200" dirty="0"/>
            <a:t>“</a:t>
          </a:r>
        </a:p>
      </dsp:txBody>
      <dsp:txXfrm>
        <a:off x="2176145" y="2036765"/>
        <a:ext cx="8704580" cy="906185"/>
      </dsp:txXfrm>
    </dsp:sp>
    <dsp:sp modelId="{54D90759-F6CF-4116-BD33-4E54EA9C764F}">
      <dsp:nvSpPr>
        <dsp:cNvPr id="0" name=""/>
        <dsp:cNvSpPr/>
      </dsp:nvSpPr>
      <dsp:spPr>
        <a:xfrm>
          <a:off x="0" y="2015107"/>
          <a:ext cx="2176145" cy="949501"/>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5154" tIns="93790" rIns="115154" bIns="93790" numCol="1" spcCol="1270" anchor="ctr" anchorCtr="0">
          <a:noAutofit/>
        </a:bodyPr>
        <a:lstStyle/>
        <a:p>
          <a:pPr marL="0" lvl="0" indent="0" algn="ctr" defTabSz="889000">
            <a:lnSpc>
              <a:spcPct val="90000"/>
            </a:lnSpc>
            <a:spcBef>
              <a:spcPct val="0"/>
            </a:spcBef>
            <a:spcAft>
              <a:spcPct val="35000"/>
            </a:spcAft>
            <a:buNone/>
          </a:pPr>
          <a:r>
            <a:rPr lang="en-US" sz="2000" kern="1200"/>
            <a:t>/prop/*</a:t>
          </a:r>
        </a:p>
      </dsp:txBody>
      <dsp:txXfrm>
        <a:off x="0" y="2015107"/>
        <a:ext cx="2176145" cy="949501"/>
      </dsp:txXfrm>
    </dsp:sp>
    <dsp:sp modelId="{BEAD8146-9190-4B97-A2C7-B898FB65C4B0}">
      <dsp:nvSpPr>
        <dsp:cNvPr id="0" name=""/>
        <dsp:cNvSpPr/>
      </dsp:nvSpPr>
      <dsp:spPr>
        <a:xfrm>
          <a:off x="2176145" y="3021578"/>
          <a:ext cx="8704580" cy="949501"/>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8893" tIns="241173" rIns="168893" bIns="241173" numCol="1" spcCol="1270" anchor="ctr" anchorCtr="0">
          <a:noAutofit/>
        </a:bodyPr>
        <a:lstStyle/>
        <a:p>
          <a:pPr marL="0" lvl="0" indent="0" algn="l" defTabSz="488950">
            <a:lnSpc>
              <a:spcPct val="90000"/>
            </a:lnSpc>
            <a:spcBef>
              <a:spcPct val="0"/>
            </a:spcBef>
            <a:spcAft>
              <a:spcPct val="35000"/>
            </a:spcAft>
            <a:buNone/>
          </a:pPr>
          <a:r>
            <a:rPr lang="en-US" sz="1100" u="none" strike="noStrike" kern="1200" dirty="0">
              <a:effectLst/>
            </a:rPr>
            <a:t>Serve iteration and </a:t>
          </a:r>
          <a:r>
            <a:rPr lang="en-US" sz="1100" u="none" strike="noStrike" kern="1200" dirty="0">
              <a:solidFill>
                <a:schemeClr val="tx1"/>
              </a:solidFill>
              <a:effectLst/>
            </a:rPr>
            <a:t>JOIN queries against scalar arrays</a:t>
          </a:r>
          <a:endParaRPr lang="en-US" sz="1100" kern="1200" dirty="0">
            <a:solidFill>
              <a:schemeClr val="tx1"/>
            </a:solidFill>
          </a:endParaRPr>
        </a:p>
        <a:p>
          <a:pPr marL="57150" lvl="1" indent="-57150" algn="l" defTabSz="444500">
            <a:lnSpc>
              <a:spcPct val="90000"/>
            </a:lnSpc>
            <a:spcBef>
              <a:spcPct val="0"/>
            </a:spcBef>
            <a:spcAft>
              <a:spcPct val="15000"/>
            </a:spcAft>
            <a:buChar char="•"/>
          </a:pPr>
          <a:r>
            <a:rPr lang="en-US" sz="1000" u="none" strike="noStrike" kern="1200" dirty="0">
              <a:solidFill>
                <a:schemeClr val="tx1"/>
              </a:solidFill>
              <a:effectLst/>
            </a:rPr>
            <a:t>SELECT tag FROM tag IN </a:t>
          </a:r>
          <a:r>
            <a:rPr lang="en-US" sz="1000" u="none" strike="noStrike" kern="1200" dirty="0" err="1">
              <a:solidFill>
                <a:schemeClr val="tx1"/>
              </a:solidFill>
              <a:effectLst/>
            </a:rPr>
            <a:t>collection.props</a:t>
          </a:r>
          <a:r>
            <a:rPr lang="en-US" sz="1000" u="none" strike="noStrike" kern="1200" dirty="0">
              <a:solidFill>
                <a:schemeClr val="tx1"/>
              </a:solidFill>
              <a:effectLst/>
            </a:rPr>
            <a:t> WHERE tag = "value"</a:t>
          </a:r>
          <a:endParaRPr lang="en-US" sz="1000" kern="1200" dirty="0">
            <a:solidFill>
              <a:schemeClr val="tx1"/>
            </a:solidFill>
          </a:endParaRPr>
        </a:p>
        <a:p>
          <a:pPr marL="57150" lvl="1" indent="-57150" algn="l" defTabSz="444500">
            <a:lnSpc>
              <a:spcPct val="90000"/>
            </a:lnSpc>
            <a:spcBef>
              <a:spcPct val="0"/>
            </a:spcBef>
            <a:spcAft>
              <a:spcPct val="15000"/>
            </a:spcAft>
            <a:buChar char="•"/>
          </a:pPr>
          <a:r>
            <a:rPr lang="en-US" sz="1000" u="none" strike="noStrike" kern="1200" dirty="0">
              <a:solidFill>
                <a:schemeClr val="tx1"/>
              </a:solidFill>
              <a:effectLst/>
            </a:rPr>
            <a:t>SELECT tag FROM collection c JOIN tag IN </a:t>
          </a:r>
          <a:r>
            <a:rPr lang="en-US" sz="1000" u="none" strike="noStrike" kern="1200" dirty="0" err="1">
              <a:solidFill>
                <a:schemeClr val="tx1"/>
              </a:solidFill>
              <a:effectLst/>
            </a:rPr>
            <a:t>c.props</a:t>
          </a:r>
          <a:r>
            <a:rPr lang="en-US" sz="1000" u="none" strike="noStrike" kern="1200" dirty="0">
              <a:solidFill>
                <a:schemeClr val="tx1"/>
              </a:solidFill>
              <a:effectLst/>
            </a:rPr>
            <a:t> WHERE tag &gt; 5</a:t>
          </a:r>
          <a:endParaRPr lang="en-US" sz="1000" kern="1200" dirty="0">
            <a:solidFill>
              <a:schemeClr val="tx1"/>
            </a:solidFill>
          </a:endParaRPr>
        </a:p>
      </dsp:txBody>
      <dsp:txXfrm>
        <a:off x="2176145" y="3021578"/>
        <a:ext cx="8704580" cy="949501"/>
      </dsp:txXfrm>
    </dsp:sp>
    <dsp:sp modelId="{C13F2573-F47C-472F-9D6C-F1F8F687565A}">
      <dsp:nvSpPr>
        <dsp:cNvPr id="0" name=""/>
        <dsp:cNvSpPr/>
      </dsp:nvSpPr>
      <dsp:spPr>
        <a:xfrm>
          <a:off x="0" y="3021578"/>
          <a:ext cx="2176145" cy="949501"/>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5154" tIns="93790" rIns="115154" bIns="93790" numCol="1" spcCol="1270" anchor="ctr" anchorCtr="0">
          <a:noAutofit/>
        </a:bodyPr>
        <a:lstStyle/>
        <a:p>
          <a:pPr marL="0" lvl="0" indent="0" algn="ctr" defTabSz="889000">
            <a:lnSpc>
              <a:spcPct val="90000"/>
            </a:lnSpc>
            <a:spcBef>
              <a:spcPct val="0"/>
            </a:spcBef>
            <a:spcAft>
              <a:spcPct val="35000"/>
            </a:spcAft>
            <a:buNone/>
          </a:pPr>
          <a:r>
            <a:rPr lang="en-US" sz="2000" u="none" strike="noStrike" kern="1200" dirty="0">
              <a:effectLst/>
            </a:rPr>
            <a:t>/props/[]/?</a:t>
          </a:r>
          <a:endParaRPr lang="en-US" sz="2000" kern="1200" dirty="0"/>
        </a:p>
      </dsp:txBody>
      <dsp:txXfrm>
        <a:off x="0" y="3021578"/>
        <a:ext cx="2176145" cy="949501"/>
      </dsp:txXfrm>
    </dsp:sp>
    <dsp:sp modelId="{F54CED2F-A0C8-4314-8EBB-A6E0C53F5CE4}">
      <dsp:nvSpPr>
        <dsp:cNvPr id="0" name=""/>
        <dsp:cNvSpPr/>
      </dsp:nvSpPr>
      <dsp:spPr>
        <a:xfrm>
          <a:off x="2176145" y="4028050"/>
          <a:ext cx="8704580" cy="949501"/>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8893" tIns="241173" rIns="168893" bIns="241173" numCol="1" spcCol="1270" anchor="ctr" anchorCtr="0">
          <a:noAutofit/>
        </a:bodyPr>
        <a:lstStyle/>
        <a:p>
          <a:pPr marL="0" lvl="0" indent="0" algn="l" defTabSz="488950">
            <a:lnSpc>
              <a:spcPct val="90000"/>
            </a:lnSpc>
            <a:spcBef>
              <a:spcPct val="0"/>
            </a:spcBef>
            <a:spcAft>
              <a:spcPct val="35000"/>
            </a:spcAft>
            <a:buNone/>
          </a:pPr>
          <a:r>
            <a:rPr lang="en-US" sz="1100" u="none" strike="noStrike" kern="1200" dirty="0">
              <a:effectLst/>
            </a:rPr>
            <a:t>Index path required to serve queries</a:t>
          </a:r>
          <a:endParaRPr lang="en-US" sz="1100" kern="1200" dirty="0"/>
        </a:p>
        <a:p>
          <a:pPr marL="57150" lvl="1" indent="-57150" algn="l" defTabSz="444500">
            <a:lnSpc>
              <a:spcPct val="90000"/>
            </a:lnSpc>
            <a:spcBef>
              <a:spcPct val="0"/>
            </a:spcBef>
            <a:spcAft>
              <a:spcPct val="15000"/>
            </a:spcAft>
            <a:buChar char="•"/>
          </a:pPr>
          <a:r>
            <a:rPr lang="en-US" sz="1000" u="none" strike="noStrike" kern="1200" dirty="0">
              <a:effectLst/>
            </a:rPr>
            <a:t>SELECT FROM collection </a:t>
          </a:r>
          <a:r>
            <a:rPr lang="en-US" sz="1000" u="none" strike="noStrike" kern="1200" dirty="0">
              <a:solidFill>
                <a:schemeClr val="tx1"/>
              </a:solidFill>
              <a:effectLst/>
            </a:rPr>
            <a:t>c WHERE </a:t>
          </a:r>
          <a:r>
            <a:rPr lang="en-US" sz="1000" u="none" strike="noStrike" kern="1200" dirty="0" err="1">
              <a:solidFill>
                <a:schemeClr val="tx1"/>
              </a:solidFill>
              <a:effectLst/>
            </a:rPr>
            <a:t>c.prop.subprop</a:t>
          </a:r>
          <a:r>
            <a:rPr lang="en-US" sz="1000" u="none" strike="noStrike" kern="1200" dirty="0">
              <a:solidFill>
                <a:schemeClr val="tx1"/>
              </a:solidFill>
              <a:effectLst/>
            </a:rPr>
            <a:t> = "value"</a:t>
          </a:r>
          <a:endParaRPr lang="en-US" sz="1000" kern="1200" dirty="0">
            <a:solidFill>
              <a:schemeClr val="tx1"/>
            </a:solidFill>
          </a:endParaRPr>
        </a:p>
        <a:p>
          <a:pPr marL="57150" lvl="1" indent="-57150" algn="l" defTabSz="444500">
            <a:lnSpc>
              <a:spcPct val="90000"/>
            </a:lnSpc>
            <a:spcBef>
              <a:spcPct val="0"/>
            </a:spcBef>
            <a:spcAft>
              <a:spcPct val="15000"/>
            </a:spcAft>
            <a:buChar char="•"/>
          </a:pPr>
          <a:r>
            <a:rPr lang="en-US" sz="1000" u="none" strike="noStrike" kern="1200" dirty="0">
              <a:solidFill>
                <a:schemeClr val="tx1"/>
              </a:solidFill>
              <a:effectLst/>
            </a:rPr>
            <a:t>SELECT FROM collection c WHERE </a:t>
          </a:r>
          <a:r>
            <a:rPr lang="en-US" sz="1000" u="none" strike="noStrike" kern="1200" dirty="0" err="1">
              <a:solidFill>
                <a:schemeClr val="tx1"/>
              </a:solidFill>
              <a:effectLst/>
            </a:rPr>
            <a:t>c.prop.subprop</a:t>
          </a:r>
          <a:r>
            <a:rPr lang="en-US" sz="1000" u="none" strike="noStrike" kern="1200" dirty="0">
              <a:solidFill>
                <a:schemeClr val="tx1"/>
              </a:solidFill>
              <a:effectLst/>
            </a:rPr>
            <a:t> &gt; 5</a:t>
          </a:r>
          <a:endParaRPr lang="en-US" sz="1000" kern="1200" dirty="0">
            <a:solidFill>
              <a:schemeClr val="tx1"/>
            </a:solidFill>
          </a:endParaRPr>
        </a:p>
      </dsp:txBody>
      <dsp:txXfrm>
        <a:off x="2176145" y="4028050"/>
        <a:ext cx="8704580" cy="949501"/>
      </dsp:txXfrm>
    </dsp:sp>
    <dsp:sp modelId="{0436D68B-7764-469B-80A1-808BF075ACCE}">
      <dsp:nvSpPr>
        <dsp:cNvPr id="0" name=""/>
        <dsp:cNvSpPr/>
      </dsp:nvSpPr>
      <dsp:spPr>
        <a:xfrm>
          <a:off x="0" y="4028050"/>
          <a:ext cx="2176145" cy="949501"/>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5154" tIns="93790" rIns="115154" bIns="93790" numCol="1" spcCol="1270" anchor="ctr" anchorCtr="0">
          <a:noAutofit/>
        </a:bodyPr>
        <a:lstStyle/>
        <a:p>
          <a:pPr marL="0" lvl="0" indent="0" algn="ctr" defTabSz="889000">
            <a:lnSpc>
              <a:spcPct val="90000"/>
            </a:lnSpc>
            <a:spcBef>
              <a:spcPct val="0"/>
            </a:spcBef>
            <a:spcAft>
              <a:spcPct val="35000"/>
            </a:spcAft>
            <a:buNone/>
          </a:pPr>
          <a:r>
            <a:rPr lang="en-US" sz="2000" u="none" strike="noStrike" kern="1200" dirty="0">
              <a:effectLst/>
            </a:rPr>
            <a:t>/prop/subprop/?</a:t>
          </a:r>
          <a:endParaRPr lang="en-US" sz="2000" kern="1200" dirty="0"/>
        </a:p>
      </dsp:txBody>
      <dsp:txXfrm>
        <a:off x="0" y="4028050"/>
        <a:ext cx="2176145" cy="94950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077920-4765-4E95-B41C-1598D0553DE1}">
      <dsp:nvSpPr>
        <dsp:cNvPr id="0" name=""/>
        <dsp:cNvSpPr/>
      </dsp:nvSpPr>
      <dsp:spPr>
        <a:xfrm>
          <a:off x="0" y="0"/>
          <a:ext cx="10880726"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A90B2BF8-CCBA-4B5E-BF6F-0B1580D2B7B3}">
      <dsp:nvSpPr>
        <dsp:cNvPr id="0" name=""/>
        <dsp:cNvSpPr/>
      </dsp:nvSpPr>
      <dsp:spPr>
        <a:xfrm>
          <a:off x="0" y="0"/>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a:lnSpc>
              <a:spcPct val="90000"/>
            </a:lnSpc>
            <a:spcBef>
              <a:spcPct val="0"/>
            </a:spcBef>
            <a:spcAft>
              <a:spcPct val="35000"/>
            </a:spcAft>
            <a:buNone/>
          </a:pPr>
          <a:r>
            <a:rPr lang="en-US" sz="3700" kern="1200" dirty="0">
              <a:solidFill>
                <a:schemeClr val="accent3"/>
              </a:solidFill>
            </a:rPr>
            <a:t>/?</a:t>
          </a:r>
          <a:r>
            <a:rPr lang="en-US" sz="3700" kern="1200" dirty="0"/>
            <a:t> </a:t>
          </a:r>
          <a:r>
            <a:rPr lang="en-US" sz="3600" kern="1200" dirty="0"/>
            <a:t>:</a:t>
          </a:r>
          <a:r>
            <a:rPr lang="en-US" sz="3700" kern="1200" dirty="0"/>
            <a:t> </a:t>
          </a:r>
          <a:r>
            <a:rPr lang="en-US" sz="3600" kern="1200" dirty="0"/>
            <a:t>a path leading to a scalar value (string or number) ends with the notation</a:t>
          </a:r>
          <a:r>
            <a:rPr lang="en-US" sz="3700" kern="1200" dirty="0"/>
            <a:t>.</a:t>
          </a:r>
        </a:p>
      </dsp:txBody>
      <dsp:txXfrm>
        <a:off x="0" y="0"/>
        <a:ext cx="10880726" cy="1204912"/>
      </dsp:txXfrm>
    </dsp:sp>
    <dsp:sp modelId="{188C8ADE-C75A-4DFC-8338-29768272EC23}">
      <dsp:nvSpPr>
        <dsp:cNvPr id="0" name=""/>
        <dsp:cNvSpPr/>
      </dsp:nvSpPr>
      <dsp:spPr>
        <a:xfrm>
          <a:off x="0" y="1204912"/>
          <a:ext cx="10880726"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D16ACFDC-A7B0-4F89-802F-41151E292550}">
      <dsp:nvSpPr>
        <dsp:cNvPr id="0" name=""/>
        <dsp:cNvSpPr/>
      </dsp:nvSpPr>
      <dsp:spPr>
        <a:xfrm>
          <a:off x="0" y="1204912"/>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a:lnSpc>
              <a:spcPct val="90000"/>
            </a:lnSpc>
            <a:spcBef>
              <a:spcPct val="0"/>
            </a:spcBef>
            <a:spcAft>
              <a:spcPct val="35000"/>
            </a:spcAft>
            <a:buNone/>
          </a:pPr>
          <a:r>
            <a:rPr lang="en-US" sz="3700" kern="1200" dirty="0">
              <a:solidFill>
                <a:schemeClr val="accent3"/>
              </a:solidFill>
            </a:rPr>
            <a:t>/[] </a:t>
          </a:r>
          <a:r>
            <a:rPr lang="en-US" sz="3600" kern="1200" dirty="0"/>
            <a:t>: elements from an array are addressed together through this notation.  Instead of /0/1,etc.</a:t>
          </a:r>
        </a:p>
      </dsp:txBody>
      <dsp:txXfrm>
        <a:off x="0" y="1204912"/>
        <a:ext cx="10880726" cy="1204912"/>
      </dsp:txXfrm>
    </dsp:sp>
    <dsp:sp modelId="{B2E2E9EA-E4B8-4488-8ED6-A56DEDB405E7}">
      <dsp:nvSpPr>
        <dsp:cNvPr id="0" name=""/>
        <dsp:cNvSpPr/>
      </dsp:nvSpPr>
      <dsp:spPr>
        <a:xfrm>
          <a:off x="0" y="2409825"/>
          <a:ext cx="10880726"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11277980-79C6-4C5F-946D-B005FE409A2F}">
      <dsp:nvSpPr>
        <dsp:cNvPr id="0" name=""/>
        <dsp:cNvSpPr/>
      </dsp:nvSpPr>
      <dsp:spPr>
        <a:xfrm>
          <a:off x="0" y="2409825"/>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a:lnSpc>
              <a:spcPct val="90000"/>
            </a:lnSpc>
            <a:spcBef>
              <a:spcPct val="0"/>
            </a:spcBef>
            <a:spcAft>
              <a:spcPct val="35000"/>
            </a:spcAft>
            <a:buNone/>
          </a:pPr>
          <a:r>
            <a:rPr lang="en-US" sz="3700" kern="1200" dirty="0">
              <a:solidFill>
                <a:schemeClr val="accent3"/>
              </a:solidFill>
            </a:rPr>
            <a:t>/*</a:t>
          </a:r>
          <a:r>
            <a:rPr lang="en-US" sz="3600" kern="1200" dirty="0">
              <a:solidFill>
                <a:schemeClr val="accent3"/>
              </a:solidFill>
            </a:rPr>
            <a:t> </a:t>
          </a:r>
          <a:r>
            <a:rPr lang="en-US" sz="3600" kern="1200" dirty="0"/>
            <a:t>: wildcard can be used to match any elements below the node</a:t>
          </a:r>
        </a:p>
      </dsp:txBody>
      <dsp:txXfrm>
        <a:off x="0" y="2409825"/>
        <a:ext cx="10880726" cy="1204912"/>
      </dsp:txXfrm>
    </dsp:sp>
    <dsp:sp modelId="{88480A16-31CE-4689-A97C-6D2B78256F67}">
      <dsp:nvSpPr>
        <dsp:cNvPr id="0" name=""/>
        <dsp:cNvSpPr/>
      </dsp:nvSpPr>
      <dsp:spPr>
        <a:xfrm>
          <a:off x="0" y="3614737"/>
          <a:ext cx="10880726"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0DD4E467-6AF0-4614-9F8C-C8F54A950FAE}">
      <dsp:nvSpPr>
        <dsp:cNvPr id="0" name=""/>
        <dsp:cNvSpPr/>
      </dsp:nvSpPr>
      <dsp:spPr>
        <a:xfrm>
          <a:off x="0" y="3614737"/>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a:lnSpc>
              <a:spcPct val="90000"/>
            </a:lnSpc>
            <a:spcBef>
              <a:spcPct val="0"/>
            </a:spcBef>
            <a:spcAft>
              <a:spcPct val="35000"/>
            </a:spcAft>
            <a:buNone/>
          </a:pPr>
          <a:r>
            <a:rPr lang="en-US" sz="3700" kern="1200" dirty="0">
              <a:solidFill>
                <a:schemeClr val="accent3"/>
              </a:solidFill>
            </a:rPr>
            <a:t>No Indexing </a:t>
          </a:r>
          <a:r>
            <a:rPr lang="en-US" sz="3600" kern="1200" dirty="0">
              <a:solidFill>
                <a:schemeClr val="tx1"/>
              </a:solidFill>
            </a:rPr>
            <a:t>: Will turn off indexing</a:t>
          </a:r>
        </a:p>
      </dsp:txBody>
      <dsp:txXfrm>
        <a:off x="0" y="3614737"/>
        <a:ext cx="10880726" cy="120491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EC1B3-246F-4A69-B427-13AB442AA1E5}">
      <dsp:nvSpPr>
        <dsp:cNvPr id="0" name=""/>
        <dsp:cNvSpPr/>
      </dsp:nvSpPr>
      <dsp:spPr>
        <a:xfrm>
          <a:off x="0" y="329610"/>
          <a:ext cx="10880726" cy="185535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44465" tIns="395732" rIns="84446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dirty="0"/>
            <a:t>from the Azure portal</a:t>
          </a:r>
        </a:p>
        <a:p>
          <a:pPr marL="171450" lvl="1" indent="-171450" algn="l" defTabSz="844550">
            <a:lnSpc>
              <a:spcPct val="90000"/>
            </a:lnSpc>
            <a:spcBef>
              <a:spcPct val="0"/>
            </a:spcBef>
            <a:spcAft>
              <a:spcPct val="15000"/>
            </a:spcAft>
            <a:buChar char="•"/>
          </a:pPr>
          <a:r>
            <a:rPr lang="en-US" sz="1900" kern="1200" dirty="0"/>
            <a:t>using the Azure CLI</a:t>
          </a:r>
        </a:p>
        <a:p>
          <a:pPr marL="171450" lvl="1" indent="-171450" algn="l" defTabSz="844550">
            <a:lnSpc>
              <a:spcPct val="90000"/>
            </a:lnSpc>
            <a:spcBef>
              <a:spcPct val="0"/>
            </a:spcBef>
            <a:spcAft>
              <a:spcPct val="15000"/>
            </a:spcAft>
            <a:buChar char="•"/>
          </a:pPr>
          <a:r>
            <a:rPr lang="en-US" sz="1900" kern="1200"/>
            <a:t>using PowerShell</a:t>
          </a:r>
        </a:p>
        <a:p>
          <a:pPr marL="171450" lvl="1" indent="-171450" algn="l" defTabSz="844550">
            <a:lnSpc>
              <a:spcPct val="90000"/>
            </a:lnSpc>
            <a:spcBef>
              <a:spcPct val="0"/>
            </a:spcBef>
            <a:spcAft>
              <a:spcPct val="15000"/>
            </a:spcAft>
            <a:buChar char="•"/>
          </a:pPr>
          <a:r>
            <a:rPr lang="en-US" sz="1900" kern="1200" dirty="0"/>
            <a:t>using one of the SDKs</a:t>
          </a:r>
        </a:p>
      </dsp:txBody>
      <dsp:txXfrm>
        <a:off x="0" y="329610"/>
        <a:ext cx="10880726" cy="1855350"/>
      </dsp:txXfrm>
    </dsp:sp>
    <dsp:sp modelId="{CEC994F6-1B9B-4787-9A37-FE49E09D201B}">
      <dsp:nvSpPr>
        <dsp:cNvPr id="0" name=""/>
        <dsp:cNvSpPr/>
      </dsp:nvSpPr>
      <dsp:spPr>
        <a:xfrm>
          <a:off x="544036" y="49170"/>
          <a:ext cx="7616508" cy="56088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44550">
            <a:lnSpc>
              <a:spcPct val="90000"/>
            </a:lnSpc>
            <a:spcBef>
              <a:spcPct val="0"/>
            </a:spcBef>
            <a:spcAft>
              <a:spcPct val="35000"/>
            </a:spcAft>
            <a:buNone/>
          </a:pPr>
          <a:r>
            <a:rPr lang="en-US" sz="1900" kern="1200"/>
            <a:t>Policy can be updated using:</a:t>
          </a:r>
        </a:p>
      </dsp:txBody>
      <dsp:txXfrm>
        <a:off x="571416" y="76550"/>
        <a:ext cx="7561748" cy="506120"/>
      </dsp:txXfrm>
    </dsp:sp>
    <dsp:sp modelId="{D6289B61-BEA4-4F45-916F-0BAE50B306DC}">
      <dsp:nvSpPr>
        <dsp:cNvPr id="0" name=""/>
        <dsp:cNvSpPr/>
      </dsp:nvSpPr>
      <dsp:spPr>
        <a:xfrm>
          <a:off x="0" y="2568000"/>
          <a:ext cx="10880726" cy="4788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4F55F6F0-1C30-4383-9720-BF14C80DCE7D}">
      <dsp:nvSpPr>
        <dsp:cNvPr id="0" name=""/>
        <dsp:cNvSpPr/>
      </dsp:nvSpPr>
      <dsp:spPr>
        <a:xfrm>
          <a:off x="544036" y="2287560"/>
          <a:ext cx="7616508" cy="56088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44550">
            <a:lnSpc>
              <a:spcPct val="90000"/>
            </a:lnSpc>
            <a:spcBef>
              <a:spcPct val="0"/>
            </a:spcBef>
            <a:spcAft>
              <a:spcPct val="35000"/>
            </a:spcAft>
            <a:buNone/>
          </a:pPr>
          <a:r>
            <a:rPr lang="en-US" sz="1900" kern="1200" dirty="0"/>
            <a:t>Performed online and in place, no downtime</a:t>
          </a:r>
        </a:p>
      </dsp:txBody>
      <dsp:txXfrm>
        <a:off x="571416" y="2314940"/>
        <a:ext cx="7561748" cy="506120"/>
      </dsp:txXfrm>
    </dsp:sp>
    <dsp:sp modelId="{D95F3D31-C4F0-4C10-8600-5C0420D5A783}">
      <dsp:nvSpPr>
        <dsp:cNvPr id="0" name=""/>
        <dsp:cNvSpPr/>
      </dsp:nvSpPr>
      <dsp:spPr>
        <a:xfrm>
          <a:off x="0" y="3429840"/>
          <a:ext cx="10880726" cy="4788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4AB2564A-8D53-477E-8EB8-41C45F783007}">
      <dsp:nvSpPr>
        <dsp:cNvPr id="0" name=""/>
        <dsp:cNvSpPr/>
      </dsp:nvSpPr>
      <dsp:spPr>
        <a:xfrm>
          <a:off x="544036" y="3149400"/>
          <a:ext cx="7616508" cy="56088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44550">
            <a:lnSpc>
              <a:spcPct val="90000"/>
            </a:lnSpc>
            <a:spcBef>
              <a:spcPct val="0"/>
            </a:spcBef>
            <a:spcAft>
              <a:spcPct val="35000"/>
            </a:spcAft>
            <a:buNone/>
          </a:pPr>
          <a:r>
            <a:rPr lang="en-US" sz="1900" kern="1200"/>
            <a:t>Performed asynchronously</a:t>
          </a:r>
        </a:p>
      </dsp:txBody>
      <dsp:txXfrm>
        <a:off x="571416" y="3176780"/>
        <a:ext cx="7561748" cy="506120"/>
      </dsp:txXfrm>
    </dsp:sp>
    <dsp:sp modelId="{CA262FEB-99AD-4DEB-B2D0-3A09E8BC6D93}">
      <dsp:nvSpPr>
        <dsp:cNvPr id="0" name=""/>
        <dsp:cNvSpPr/>
      </dsp:nvSpPr>
      <dsp:spPr>
        <a:xfrm>
          <a:off x="0" y="4291679"/>
          <a:ext cx="10880726" cy="4788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45ED2903-0730-4096-A049-24B4F84F74F1}">
      <dsp:nvSpPr>
        <dsp:cNvPr id="0" name=""/>
        <dsp:cNvSpPr/>
      </dsp:nvSpPr>
      <dsp:spPr>
        <a:xfrm>
          <a:off x="544036" y="4011239"/>
          <a:ext cx="7616508" cy="56088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44550">
            <a:lnSpc>
              <a:spcPct val="90000"/>
            </a:lnSpc>
            <a:spcBef>
              <a:spcPct val="0"/>
            </a:spcBef>
            <a:spcAft>
              <a:spcPct val="35000"/>
            </a:spcAft>
            <a:buNone/>
          </a:pPr>
          <a:r>
            <a:rPr lang="en-US" sz="1900" kern="1200"/>
            <a:t>Changes made in place, no additional storage consumed</a:t>
          </a:r>
        </a:p>
      </dsp:txBody>
      <dsp:txXfrm>
        <a:off x="571416" y="4038619"/>
        <a:ext cx="7561748" cy="50612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69861"/>
          <a:ext cx="10393362" cy="123551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l" defTabSz="2133600">
            <a:lnSpc>
              <a:spcPct val="90000"/>
            </a:lnSpc>
            <a:spcBef>
              <a:spcPct val="0"/>
            </a:spcBef>
            <a:spcAft>
              <a:spcPct val="35000"/>
            </a:spcAft>
            <a:buNone/>
          </a:pPr>
          <a:r>
            <a:rPr lang="en-US" sz="4800" kern="1200" dirty="0"/>
            <a:t>What are the three index kinds? </a:t>
          </a:r>
        </a:p>
      </dsp:txBody>
      <dsp:txXfrm>
        <a:off x="60313" y="230174"/>
        <a:ext cx="10272736" cy="1114893"/>
      </dsp:txXfrm>
    </dsp:sp>
    <dsp:sp modelId="{4A71D5C7-A7D6-46CE-B888-CF65241F6B98}">
      <dsp:nvSpPr>
        <dsp:cNvPr id="0" name=""/>
        <dsp:cNvSpPr/>
      </dsp:nvSpPr>
      <dsp:spPr>
        <a:xfrm>
          <a:off x="0" y="1543621"/>
          <a:ext cx="10393362" cy="123551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l" defTabSz="2133600">
            <a:lnSpc>
              <a:spcPct val="90000"/>
            </a:lnSpc>
            <a:spcBef>
              <a:spcPct val="0"/>
            </a:spcBef>
            <a:spcAft>
              <a:spcPct val="35000"/>
            </a:spcAft>
            <a:buNone/>
          </a:pPr>
          <a:r>
            <a:rPr lang="en-US" sz="4800" kern="1200" dirty="0"/>
            <a:t>What are the three indexing modes?</a:t>
          </a:r>
        </a:p>
      </dsp:txBody>
      <dsp:txXfrm>
        <a:off x="60313" y="1603934"/>
        <a:ext cx="10272736" cy="1114893"/>
      </dsp:txXfrm>
    </dsp:sp>
    <dsp:sp modelId="{4CE6D622-6C4B-4912-A756-057BDFDF7259}">
      <dsp:nvSpPr>
        <dsp:cNvPr id="0" name=""/>
        <dsp:cNvSpPr/>
      </dsp:nvSpPr>
      <dsp:spPr>
        <a:xfrm>
          <a:off x="0" y="2917381"/>
          <a:ext cx="10393362" cy="123551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l" defTabSz="2133600">
            <a:lnSpc>
              <a:spcPct val="90000"/>
            </a:lnSpc>
            <a:spcBef>
              <a:spcPct val="0"/>
            </a:spcBef>
            <a:spcAft>
              <a:spcPct val="35000"/>
            </a:spcAft>
            <a:buNone/>
          </a:pPr>
          <a:r>
            <a:rPr lang="en-US" sz="4800" kern="1200" dirty="0"/>
            <a:t>Policies can be updated using?</a:t>
          </a:r>
        </a:p>
      </dsp:txBody>
      <dsp:txXfrm>
        <a:off x="60313" y="2977694"/>
        <a:ext cx="10272736" cy="111489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6065"/>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1&gt;</a:t>
          </a:r>
        </a:p>
      </dsp:txBody>
      <dsp:txXfrm>
        <a:off x="35183" y="81248"/>
        <a:ext cx="10810359" cy="650354"/>
      </dsp:txXfrm>
    </dsp:sp>
    <dsp:sp modelId="{4A71D5C7-A7D6-46CE-B888-CF65241F6B98}">
      <dsp:nvSpPr>
        <dsp:cNvPr id="0" name=""/>
        <dsp:cNvSpPr/>
      </dsp:nvSpPr>
      <dsp:spPr>
        <a:xfrm>
          <a:off x="0" y="847425"/>
          <a:ext cx="10880725" cy="720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2&gt;</a:t>
          </a:r>
        </a:p>
      </dsp:txBody>
      <dsp:txXfrm>
        <a:off x="35183" y="882608"/>
        <a:ext cx="10810359" cy="650354"/>
      </dsp:txXfrm>
    </dsp:sp>
    <dsp:sp modelId="{4CE6D622-6C4B-4912-A756-057BDFDF7259}">
      <dsp:nvSpPr>
        <dsp:cNvPr id="0" name=""/>
        <dsp:cNvSpPr/>
      </dsp:nvSpPr>
      <dsp:spPr>
        <a:xfrm>
          <a:off x="0" y="1648785"/>
          <a:ext cx="10880725" cy="720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3&gt;</a:t>
          </a:r>
        </a:p>
      </dsp:txBody>
      <dsp:txXfrm>
        <a:off x="35183" y="1683968"/>
        <a:ext cx="10810359" cy="650354"/>
      </dsp:txXfrm>
    </dsp:sp>
    <dsp:sp modelId="{0E5177C7-801D-471B-9850-4FD8DFBC4036}">
      <dsp:nvSpPr>
        <dsp:cNvPr id="0" name=""/>
        <dsp:cNvSpPr/>
      </dsp:nvSpPr>
      <dsp:spPr>
        <a:xfrm>
          <a:off x="0" y="2450145"/>
          <a:ext cx="10880725" cy="7207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4&gt;</a:t>
          </a:r>
        </a:p>
      </dsp:txBody>
      <dsp:txXfrm>
        <a:off x="35183" y="2485328"/>
        <a:ext cx="10810359" cy="650354"/>
      </dsp:txXfrm>
    </dsp:sp>
    <dsp:sp modelId="{196D8D5C-AF3C-4B3F-BC76-432EBE3C6399}">
      <dsp:nvSpPr>
        <dsp:cNvPr id="0" name=""/>
        <dsp:cNvSpPr/>
      </dsp:nvSpPr>
      <dsp:spPr>
        <a:xfrm>
          <a:off x="0" y="3251504"/>
          <a:ext cx="10880725" cy="72072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5&gt;</a:t>
          </a:r>
        </a:p>
      </dsp:txBody>
      <dsp:txXfrm>
        <a:off x="35183" y="3286687"/>
        <a:ext cx="10810359" cy="650354"/>
      </dsp:txXfrm>
    </dsp:sp>
    <dsp:sp modelId="{5428FA35-71F9-4C21-98D3-3CA4D776F237}">
      <dsp:nvSpPr>
        <dsp:cNvPr id="0" name=""/>
        <dsp:cNvSpPr/>
      </dsp:nvSpPr>
      <dsp:spPr>
        <a:xfrm>
          <a:off x="0" y="4052864"/>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6&gt;</a:t>
          </a:r>
        </a:p>
      </dsp:txBody>
      <dsp:txXfrm>
        <a:off x="35183" y="4088047"/>
        <a:ext cx="10810359" cy="65035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6065"/>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1&gt;</a:t>
          </a:r>
        </a:p>
      </dsp:txBody>
      <dsp:txXfrm>
        <a:off x="35183" y="81248"/>
        <a:ext cx="10810359" cy="650354"/>
      </dsp:txXfrm>
    </dsp:sp>
    <dsp:sp modelId="{4A71D5C7-A7D6-46CE-B888-CF65241F6B98}">
      <dsp:nvSpPr>
        <dsp:cNvPr id="0" name=""/>
        <dsp:cNvSpPr/>
      </dsp:nvSpPr>
      <dsp:spPr>
        <a:xfrm>
          <a:off x="0" y="847425"/>
          <a:ext cx="10880725" cy="720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2&gt;</a:t>
          </a:r>
        </a:p>
      </dsp:txBody>
      <dsp:txXfrm>
        <a:off x="35183" y="882608"/>
        <a:ext cx="10810359" cy="650354"/>
      </dsp:txXfrm>
    </dsp:sp>
    <dsp:sp modelId="{4CE6D622-6C4B-4912-A756-057BDFDF7259}">
      <dsp:nvSpPr>
        <dsp:cNvPr id="0" name=""/>
        <dsp:cNvSpPr/>
      </dsp:nvSpPr>
      <dsp:spPr>
        <a:xfrm>
          <a:off x="0" y="1648785"/>
          <a:ext cx="10880725" cy="720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3&gt;</a:t>
          </a:r>
        </a:p>
      </dsp:txBody>
      <dsp:txXfrm>
        <a:off x="35183" y="1683968"/>
        <a:ext cx="10810359" cy="650354"/>
      </dsp:txXfrm>
    </dsp:sp>
    <dsp:sp modelId="{0E5177C7-801D-471B-9850-4FD8DFBC4036}">
      <dsp:nvSpPr>
        <dsp:cNvPr id="0" name=""/>
        <dsp:cNvSpPr/>
      </dsp:nvSpPr>
      <dsp:spPr>
        <a:xfrm>
          <a:off x="0" y="2450145"/>
          <a:ext cx="10880725" cy="7207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4&gt;</a:t>
          </a:r>
        </a:p>
      </dsp:txBody>
      <dsp:txXfrm>
        <a:off x="35183" y="2485328"/>
        <a:ext cx="10810359" cy="650354"/>
      </dsp:txXfrm>
    </dsp:sp>
    <dsp:sp modelId="{196D8D5C-AF3C-4B3F-BC76-432EBE3C6399}">
      <dsp:nvSpPr>
        <dsp:cNvPr id="0" name=""/>
        <dsp:cNvSpPr/>
      </dsp:nvSpPr>
      <dsp:spPr>
        <a:xfrm>
          <a:off x="0" y="3251504"/>
          <a:ext cx="10880725" cy="72072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5&gt;</a:t>
          </a:r>
        </a:p>
      </dsp:txBody>
      <dsp:txXfrm>
        <a:off x="35183" y="3286687"/>
        <a:ext cx="10810359" cy="650354"/>
      </dsp:txXfrm>
    </dsp:sp>
    <dsp:sp modelId="{5428FA35-71F9-4C21-98D3-3CA4D776F237}">
      <dsp:nvSpPr>
        <dsp:cNvPr id="0" name=""/>
        <dsp:cNvSpPr/>
      </dsp:nvSpPr>
      <dsp:spPr>
        <a:xfrm>
          <a:off x="0" y="4052864"/>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6&gt;</a:t>
          </a:r>
        </a:p>
      </dsp:txBody>
      <dsp:txXfrm>
        <a:off x="35183" y="4088047"/>
        <a:ext cx="10810359" cy="6503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DC5E18-6FDA-4F81-AFE1-C436E78CEED3}">
      <dsp:nvSpPr>
        <dsp:cNvPr id="0" name=""/>
        <dsp:cNvSpPr/>
      </dsp:nvSpPr>
      <dsp:spPr>
        <a:xfrm>
          <a:off x="0" y="29504"/>
          <a:ext cx="10880726" cy="10670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Based on resources provisioned, not on actual usage</a:t>
          </a:r>
        </a:p>
      </dsp:txBody>
      <dsp:txXfrm>
        <a:off x="52089" y="81593"/>
        <a:ext cx="10776548" cy="962862"/>
      </dsp:txXfrm>
    </dsp:sp>
    <dsp:sp modelId="{84B4B9A8-6A87-438F-AEBB-B44A561ADA5F}">
      <dsp:nvSpPr>
        <dsp:cNvPr id="0" name=""/>
        <dsp:cNvSpPr/>
      </dsp:nvSpPr>
      <dsp:spPr>
        <a:xfrm>
          <a:off x="0" y="1260704"/>
          <a:ext cx="10880726" cy="10670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Monitor and manage RU/s to control costs</a:t>
          </a:r>
        </a:p>
      </dsp:txBody>
      <dsp:txXfrm>
        <a:off x="52089" y="1312793"/>
        <a:ext cx="10776548" cy="962862"/>
      </dsp:txXfrm>
    </dsp:sp>
    <dsp:sp modelId="{7C1C33C1-B8D1-4A00-8B98-5DBB6AA1B80F}">
      <dsp:nvSpPr>
        <dsp:cNvPr id="0" name=""/>
        <dsp:cNvSpPr/>
      </dsp:nvSpPr>
      <dsp:spPr>
        <a:xfrm>
          <a:off x="0" y="2491905"/>
          <a:ext cx="10880726" cy="10670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RU capacity is elastic and can be instantly scaled via Azure Portal or programmatically to match demand</a:t>
          </a:r>
        </a:p>
      </dsp:txBody>
      <dsp:txXfrm>
        <a:off x="52089" y="2543994"/>
        <a:ext cx="10776548" cy="962862"/>
      </dsp:txXfrm>
    </dsp:sp>
    <dsp:sp modelId="{923C41F0-4AD3-4B47-9814-D53ACC724F1F}">
      <dsp:nvSpPr>
        <dsp:cNvPr id="0" name=""/>
        <dsp:cNvSpPr/>
      </dsp:nvSpPr>
      <dsp:spPr>
        <a:xfrm>
          <a:off x="0" y="3723105"/>
          <a:ext cx="10880726" cy="106704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Metered hourly</a:t>
          </a:r>
        </a:p>
      </dsp:txBody>
      <dsp:txXfrm>
        <a:off x="52089" y="3775194"/>
        <a:ext cx="10776548" cy="9628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C0D9A2-567D-4FCD-8E76-A756DE2EB35D}">
      <dsp:nvSpPr>
        <dsp:cNvPr id="0" name=""/>
        <dsp:cNvSpPr/>
      </dsp:nvSpPr>
      <dsp:spPr>
        <a:xfrm>
          <a:off x="0" y="1276699"/>
          <a:ext cx="3060204" cy="194322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8C2F02-1A0B-4802-BC5B-2BEE649D04D9}">
      <dsp:nvSpPr>
        <dsp:cNvPr id="0" name=""/>
        <dsp:cNvSpPr/>
      </dsp:nvSpPr>
      <dsp:spPr>
        <a:xfrm>
          <a:off x="340022" y="1599720"/>
          <a:ext cx="3060204" cy="194322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Helps you save money by committing to a reservation for Azure Cosmos DB resources for either one year or three years.</a:t>
          </a:r>
        </a:p>
      </dsp:txBody>
      <dsp:txXfrm>
        <a:off x="396937" y="1656635"/>
        <a:ext cx="2946374" cy="1829399"/>
      </dsp:txXfrm>
    </dsp:sp>
    <dsp:sp modelId="{FAC81962-7D85-4FDB-A08D-FBA341873154}">
      <dsp:nvSpPr>
        <dsp:cNvPr id="0" name=""/>
        <dsp:cNvSpPr/>
      </dsp:nvSpPr>
      <dsp:spPr>
        <a:xfrm>
          <a:off x="3740249" y="1276699"/>
          <a:ext cx="3060204" cy="194322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89EE16-185A-4B65-88FA-D04668C40987}">
      <dsp:nvSpPr>
        <dsp:cNvPr id="0" name=""/>
        <dsp:cNvSpPr/>
      </dsp:nvSpPr>
      <dsp:spPr>
        <a:xfrm>
          <a:off x="4080272" y="1599720"/>
          <a:ext cx="3060204" cy="194322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You can get a discount on the throughput provisioned for Cosmos DB resources. Examples of resources are databases and containers (tables, collections, and graphs).</a:t>
          </a:r>
        </a:p>
      </dsp:txBody>
      <dsp:txXfrm>
        <a:off x="4137187" y="1656635"/>
        <a:ext cx="2946374" cy="1829399"/>
      </dsp:txXfrm>
    </dsp:sp>
    <dsp:sp modelId="{7742559D-A2BC-410D-A714-B00D69D065A6}">
      <dsp:nvSpPr>
        <dsp:cNvPr id="0" name=""/>
        <dsp:cNvSpPr/>
      </dsp:nvSpPr>
      <dsp:spPr>
        <a:xfrm>
          <a:off x="7480499" y="1276699"/>
          <a:ext cx="3060204" cy="194322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E8F815-4736-43D5-8882-9F97E4BEDBA7}">
      <dsp:nvSpPr>
        <dsp:cNvPr id="0" name=""/>
        <dsp:cNvSpPr/>
      </dsp:nvSpPr>
      <dsp:spPr>
        <a:xfrm>
          <a:off x="7820521" y="1599720"/>
          <a:ext cx="3060204" cy="194322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Size of the reservation should be based on the total amount of throughput that the existing or soon-to-be-deployed Azure Cosmos DB resources will use</a:t>
          </a:r>
          <a:endParaRPr lang="en-US" sz="1600" kern="1200" dirty="0"/>
        </a:p>
      </dsp:txBody>
      <dsp:txXfrm>
        <a:off x="7877436" y="1656635"/>
        <a:ext cx="2946374" cy="18293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89BEC8-B4A5-4DA5-9F24-252D8D29EAD7}">
      <dsp:nvSpPr>
        <dsp:cNvPr id="0" name=""/>
        <dsp:cNvSpPr/>
      </dsp:nvSpPr>
      <dsp:spPr>
        <a:xfrm>
          <a:off x="0" y="485444"/>
          <a:ext cx="10880726" cy="151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a:t>Guarantees high performance at any scale. </a:t>
          </a:r>
        </a:p>
        <a:p>
          <a:pPr marL="171450" lvl="1" indent="-171450" algn="l" defTabSz="711200">
            <a:lnSpc>
              <a:spcPct val="90000"/>
            </a:lnSpc>
            <a:spcBef>
              <a:spcPct val="0"/>
            </a:spcBef>
            <a:spcAft>
              <a:spcPct val="15000"/>
            </a:spcAft>
            <a:buChar char="•"/>
          </a:pPr>
          <a:r>
            <a:rPr lang="en-US" sz="1600" kern="1200"/>
            <a:t>You specify the throughput (RU/s) that you need, and Azure Cosmos DB dedicates the resources required to guarantee the configured throughput. </a:t>
          </a:r>
        </a:p>
        <a:p>
          <a:pPr marL="171450" lvl="1" indent="-171450" algn="l" defTabSz="711200">
            <a:lnSpc>
              <a:spcPct val="90000"/>
            </a:lnSpc>
            <a:spcBef>
              <a:spcPct val="0"/>
            </a:spcBef>
            <a:spcAft>
              <a:spcPct val="15000"/>
            </a:spcAft>
            <a:buChar char="•"/>
          </a:pPr>
          <a:r>
            <a:rPr lang="en-US" sz="1600" kern="1200" dirty="0"/>
            <a:t>Billed hourly for the maximum provisioned throughput for a given hour.</a:t>
          </a:r>
        </a:p>
      </dsp:txBody>
      <dsp:txXfrm>
        <a:off x="0" y="485444"/>
        <a:ext cx="10880726" cy="1512000"/>
      </dsp:txXfrm>
    </dsp:sp>
    <dsp:sp modelId="{324E75F8-7039-4A88-82B2-22F006495CEF}">
      <dsp:nvSpPr>
        <dsp:cNvPr id="0" name=""/>
        <dsp:cNvSpPr/>
      </dsp:nvSpPr>
      <dsp:spPr>
        <a:xfrm>
          <a:off x="544036" y="249284"/>
          <a:ext cx="7616508" cy="4723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11200">
            <a:lnSpc>
              <a:spcPct val="90000"/>
            </a:lnSpc>
            <a:spcBef>
              <a:spcPct val="0"/>
            </a:spcBef>
            <a:spcAft>
              <a:spcPct val="35000"/>
            </a:spcAft>
            <a:buNone/>
          </a:pPr>
          <a:r>
            <a:rPr lang="en-US" sz="1600" kern="1200"/>
            <a:t>Provisioned Throughput</a:t>
          </a:r>
        </a:p>
      </dsp:txBody>
      <dsp:txXfrm>
        <a:off x="567093" y="272341"/>
        <a:ext cx="7570394" cy="426206"/>
      </dsp:txXfrm>
    </dsp:sp>
    <dsp:sp modelId="{162BB239-6A07-42E2-95AA-D8596A88EE41}">
      <dsp:nvSpPr>
        <dsp:cNvPr id="0" name=""/>
        <dsp:cNvSpPr/>
      </dsp:nvSpPr>
      <dsp:spPr>
        <a:xfrm>
          <a:off x="0" y="2320004"/>
          <a:ext cx="10880726" cy="693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a:t>Billed a flat rate for total amount of storage (GBs) consumed for data and indexes for a given hour.</a:t>
          </a:r>
        </a:p>
      </dsp:txBody>
      <dsp:txXfrm>
        <a:off x="0" y="2320004"/>
        <a:ext cx="10880726" cy="693000"/>
      </dsp:txXfrm>
    </dsp:sp>
    <dsp:sp modelId="{4B44C7D6-EE7B-4D02-B52B-8B9610A70A60}">
      <dsp:nvSpPr>
        <dsp:cNvPr id="0" name=""/>
        <dsp:cNvSpPr/>
      </dsp:nvSpPr>
      <dsp:spPr>
        <a:xfrm>
          <a:off x="544036" y="2083845"/>
          <a:ext cx="7616508" cy="4723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11200">
            <a:lnSpc>
              <a:spcPct val="90000"/>
            </a:lnSpc>
            <a:spcBef>
              <a:spcPct val="0"/>
            </a:spcBef>
            <a:spcAft>
              <a:spcPct val="35000"/>
            </a:spcAft>
            <a:buNone/>
          </a:pPr>
          <a:r>
            <a:rPr lang="en-US" sz="1600" kern="1200"/>
            <a:t>Consumed Storage</a:t>
          </a:r>
        </a:p>
      </dsp:txBody>
      <dsp:txXfrm>
        <a:off x="567093" y="2106902"/>
        <a:ext cx="7570394" cy="426206"/>
      </dsp:txXfrm>
    </dsp:sp>
    <dsp:sp modelId="{D2B59F20-A886-4E31-A206-00ADB83C4511}">
      <dsp:nvSpPr>
        <dsp:cNvPr id="0" name=""/>
        <dsp:cNvSpPr/>
      </dsp:nvSpPr>
      <dsp:spPr>
        <a:xfrm>
          <a:off x="0" y="3335565"/>
          <a:ext cx="10880726" cy="123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a:t>can add and remove regions to your Azure Cosmos account at any time</a:t>
          </a:r>
        </a:p>
        <a:p>
          <a:pPr marL="171450" lvl="1" indent="-171450" algn="l" defTabSz="711200">
            <a:lnSpc>
              <a:spcPct val="90000"/>
            </a:lnSpc>
            <a:spcBef>
              <a:spcPct val="0"/>
            </a:spcBef>
            <a:spcAft>
              <a:spcPct val="15000"/>
            </a:spcAft>
            <a:buChar char="•"/>
          </a:pPr>
          <a:r>
            <a:rPr lang="en-US" sz="1600" kern="1200" dirty="0"/>
            <a:t>Throughput that you configure for various Azure Cosmos databases and containers is reserved in each region associated with your account</a:t>
          </a:r>
        </a:p>
      </dsp:txBody>
      <dsp:txXfrm>
        <a:off x="0" y="3335565"/>
        <a:ext cx="10880726" cy="1234800"/>
      </dsp:txXfrm>
    </dsp:sp>
    <dsp:sp modelId="{385BD4AC-E1BE-4138-B2B2-2B3BBFAF2469}">
      <dsp:nvSpPr>
        <dsp:cNvPr id="0" name=""/>
        <dsp:cNvSpPr/>
      </dsp:nvSpPr>
      <dsp:spPr>
        <a:xfrm>
          <a:off x="544036" y="3099405"/>
          <a:ext cx="7616508" cy="4723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11200">
            <a:lnSpc>
              <a:spcPct val="90000"/>
            </a:lnSpc>
            <a:spcBef>
              <a:spcPct val="0"/>
            </a:spcBef>
            <a:spcAft>
              <a:spcPct val="35000"/>
            </a:spcAft>
            <a:buNone/>
          </a:pPr>
          <a:r>
            <a:rPr lang="en-US" sz="1600" kern="1200"/>
            <a:t>Multi-Region </a:t>
          </a:r>
        </a:p>
      </dsp:txBody>
      <dsp:txXfrm>
        <a:off x="567093" y="3122462"/>
        <a:ext cx="7570394" cy="4262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6300"/>
          <a:ext cx="10880725" cy="151514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True or false. Billing is based on computational usage; you only pay for what you use?</a:t>
          </a:r>
        </a:p>
      </dsp:txBody>
      <dsp:txXfrm>
        <a:off x="73963" y="110263"/>
        <a:ext cx="10732799" cy="1367223"/>
      </dsp:txXfrm>
    </dsp:sp>
    <dsp:sp modelId="{4A71D5C7-A7D6-46CE-B888-CF65241F6B98}">
      <dsp:nvSpPr>
        <dsp:cNvPr id="0" name=""/>
        <dsp:cNvSpPr/>
      </dsp:nvSpPr>
      <dsp:spPr>
        <a:xfrm>
          <a:off x="0" y="1652250"/>
          <a:ext cx="10880725" cy="151514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What response header includes the number of RUs consumed for a given request?</a:t>
          </a:r>
        </a:p>
      </dsp:txBody>
      <dsp:txXfrm>
        <a:off x="73963" y="1726213"/>
        <a:ext cx="10732799" cy="1367223"/>
      </dsp:txXfrm>
    </dsp:sp>
    <dsp:sp modelId="{0E5177C7-801D-471B-9850-4FD8DFBC4036}">
      <dsp:nvSpPr>
        <dsp:cNvPr id="0" name=""/>
        <dsp:cNvSpPr/>
      </dsp:nvSpPr>
      <dsp:spPr>
        <a:xfrm>
          <a:off x="0" y="3268200"/>
          <a:ext cx="10880725" cy="151514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What are the three pricing models?</a:t>
          </a:r>
        </a:p>
      </dsp:txBody>
      <dsp:txXfrm>
        <a:off x="73963" y="3342163"/>
        <a:ext cx="10732799" cy="136722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6065"/>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1&gt;</a:t>
          </a:r>
        </a:p>
      </dsp:txBody>
      <dsp:txXfrm>
        <a:off x="35183" y="81248"/>
        <a:ext cx="10810359" cy="650354"/>
      </dsp:txXfrm>
    </dsp:sp>
    <dsp:sp modelId="{4A71D5C7-A7D6-46CE-B888-CF65241F6B98}">
      <dsp:nvSpPr>
        <dsp:cNvPr id="0" name=""/>
        <dsp:cNvSpPr/>
      </dsp:nvSpPr>
      <dsp:spPr>
        <a:xfrm>
          <a:off x="0" y="847425"/>
          <a:ext cx="10880725" cy="720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2&gt;</a:t>
          </a:r>
        </a:p>
      </dsp:txBody>
      <dsp:txXfrm>
        <a:off x="35183" y="882608"/>
        <a:ext cx="10810359" cy="650354"/>
      </dsp:txXfrm>
    </dsp:sp>
    <dsp:sp modelId="{4CE6D622-6C4B-4912-A756-057BDFDF7259}">
      <dsp:nvSpPr>
        <dsp:cNvPr id="0" name=""/>
        <dsp:cNvSpPr/>
      </dsp:nvSpPr>
      <dsp:spPr>
        <a:xfrm>
          <a:off x="0" y="1648785"/>
          <a:ext cx="10880725" cy="720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3&gt;</a:t>
          </a:r>
        </a:p>
      </dsp:txBody>
      <dsp:txXfrm>
        <a:off x="35183" y="1683968"/>
        <a:ext cx="10810359" cy="650354"/>
      </dsp:txXfrm>
    </dsp:sp>
    <dsp:sp modelId="{0E5177C7-801D-471B-9850-4FD8DFBC4036}">
      <dsp:nvSpPr>
        <dsp:cNvPr id="0" name=""/>
        <dsp:cNvSpPr/>
      </dsp:nvSpPr>
      <dsp:spPr>
        <a:xfrm>
          <a:off x="0" y="2450145"/>
          <a:ext cx="10880725" cy="7207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4&gt;</a:t>
          </a:r>
        </a:p>
      </dsp:txBody>
      <dsp:txXfrm>
        <a:off x="35183" y="2485328"/>
        <a:ext cx="10810359" cy="650354"/>
      </dsp:txXfrm>
    </dsp:sp>
    <dsp:sp modelId="{196D8D5C-AF3C-4B3F-BC76-432EBE3C6399}">
      <dsp:nvSpPr>
        <dsp:cNvPr id="0" name=""/>
        <dsp:cNvSpPr/>
      </dsp:nvSpPr>
      <dsp:spPr>
        <a:xfrm>
          <a:off x="0" y="3251504"/>
          <a:ext cx="10880725" cy="72072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5&gt;</a:t>
          </a:r>
        </a:p>
      </dsp:txBody>
      <dsp:txXfrm>
        <a:off x="35183" y="3286687"/>
        <a:ext cx="10810359" cy="650354"/>
      </dsp:txXfrm>
    </dsp:sp>
    <dsp:sp modelId="{5428FA35-71F9-4C21-98D3-3CA4D776F237}">
      <dsp:nvSpPr>
        <dsp:cNvPr id="0" name=""/>
        <dsp:cNvSpPr/>
      </dsp:nvSpPr>
      <dsp:spPr>
        <a:xfrm>
          <a:off x="0" y="4052864"/>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6&gt;</a:t>
          </a:r>
        </a:p>
      </dsp:txBody>
      <dsp:txXfrm>
        <a:off x="35183" y="4088047"/>
        <a:ext cx="10810359" cy="65035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6065"/>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1&gt;</a:t>
          </a:r>
        </a:p>
      </dsp:txBody>
      <dsp:txXfrm>
        <a:off x="35183" y="81248"/>
        <a:ext cx="10810359" cy="650354"/>
      </dsp:txXfrm>
    </dsp:sp>
    <dsp:sp modelId="{4A71D5C7-A7D6-46CE-B888-CF65241F6B98}">
      <dsp:nvSpPr>
        <dsp:cNvPr id="0" name=""/>
        <dsp:cNvSpPr/>
      </dsp:nvSpPr>
      <dsp:spPr>
        <a:xfrm>
          <a:off x="0" y="847425"/>
          <a:ext cx="10880725" cy="720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2&gt;</a:t>
          </a:r>
        </a:p>
      </dsp:txBody>
      <dsp:txXfrm>
        <a:off x="35183" y="882608"/>
        <a:ext cx="10810359" cy="650354"/>
      </dsp:txXfrm>
    </dsp:sp>
    <dsp:sp modelId="{4CE6D622-6C4B-4912-A756-057BDFDF7259}">
      <dsp:nvSpPr>
        <dsp:cNvPr id="0" name=""/>
        <dsp:cNvSpPr/>
      </dsp:nvSpPr>
      <dsp:spPr>
        <a:xfrm>
          <a:off x="0" y="1648785"/>
          <a:ext cx="10880725" cy="720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3&gt;</a:t>
          </a:r>
        </a:p>
      </dsp:txBody>
      <dsp:txXfrm>
        <a:off x="35183" y="1683968"/>
        <a:ext cx="10810359" cy="650354"/>
      </dsp:txXfrm>
    </dsp:sp>
    <dsp:sp modelId="{0E5177C7-801D-471B-9850-4FD8DFBC4036}">
      <dsp:nvSpPr>
        <dsp:cNvPr id="0" name=""/>
        <dsp:cNvSpPr/>
      </dsp:nvSpPr>
      <dsp:spPr>
        <a:xfrm>
          <a:off x="0" y="2450145"/>
          <a:ext cx="10880725" cy="7207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4&gt;</a:t>
          </a:r>
        </a:p>
      </dsp:txBody>
      <dsp:txXfrm>
        <a:off x="35183" y="2485328"/>
        <a:ext cx="10810359" cy="650354"/>
      </dsp:txXfrm>
    </dsp:sp>
    <dsp:sp modelId="{196D8D5C-AF3C-4B3F-BC76-432EBE3C6399}">
      <dsp:nvSpPr>
        <dsp:cNvPr id="0" name=""/>
        <dsp:cNvSpPr/>
      </dsp:nvSpPr>
      <dsp:spPr>
        <a:xfrm>
          <a:off x="0" y="3251504"/>
          <a:ext cx="10880725" cy="72072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5&gt;</a:t>
          </a:r>
        </a:p>
      </dsp:txBody>
      <dsp:txXfrm>
        <a:off x="35183" y="3286687"/>
        <a:ext cx="10810359" cy="650354"/>
      </dsp:txXfrm>
    </dsp:sp>
    <dsp:sp modelId="{5428FA35-71F9-4C21-98D3-3CA4D776F237}">
      <dsp:nvSpPr>
        <dsp:cNvPr id="0" name=""/>
        <dsp:cNvSpPr/>
      </dsp:nvSpPr>
      <dsp:spPr>
        <a:xfrm>
          <a:off x="0" y="4052864"/>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6&gt;</a:t>
          </a:r>
        </a:p>
      </dsp:txBody>
      <dsp:txXfrm>
        <a:off x="35183" y="4088047"/>
        <a:ext cx="10810359" cy="65035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6065"/>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1&gt;</a:t>
          </a:r>
        </a:p>
      </dsp:txBody>
      <dsp:txXfrm>
        <a:off x="35183" y="81248"/>
        <a:ext cx="10810359" cy="650354"/>
      </dsp:txXfrm>
    </dsp:sp>
    <dsp:sp modelId="{4A71D5C7-A7D6-46CE-B888-CF65241F6B98}">
      <dsp:nvSpPr>
        <dsp:cNvPr id="0" name=""/>
        <dsp:cNvSpPr/>
      </dsp:nvSpPr>
      <dsp:spPr>
        <a:xfrm>
          <a:off x="0" y="847425"/>
          <a:ext cx="10880725" cy="720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2&gt;</a:t>
          </a:r>
        </a:p>
      </dsp:txBody>
      <dsp:txXfrm>
        <a:off x="35183" y="882608"/>
        <a:ext cx="10810359" cy="650354"/>
      </dsp:txXfrm>
    </dsp:sp>
    <dsp:sp modelId="{4CE6D622-6C4B-4912-A756-057BDFDF7259}">
      <dsp:nvSpPr>
        <dsp:cNvPr id="0" name=""/>
        <dsp:cNvSpPr/>
      </dsp:nvSpPr>
      <dsp:spPr>
        <a:xfrm>
          <a:off x="0" y="1648785"/>
          <a:ext cx="10880725" cy="720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3&gt;</a:t>
          </a:r>
        </a:p>
      </dsp:txBody>
      <dsp:txXfrm>
        <a:off x="35183" y="1683968"/>
        <a:ext cx="10810359" cy="650354"/>
      </dsp:txXfrm>
    </dsp:sp>
    <dsp:sp modelId="{0E5177C7-801D-471B-9850-4FD8DFBC4036}">
      <dsp:nvSpPr>
        <dsp:cNvPr id="0" name=""/>
        <dsp:cNvSpPr/>
      </dsp:nvSpPr>
      <dsp:spPr>
        <a:xfrm>
          <a:off x="0" y="2450145"/>
          <a:ext cx="10880725" cy="7207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4&gt;</a:t>
          </a:r>
        </a:p>
      </dsp:txBody>
      <dsp:txXfrm>
        <a:off x="35183" y="2485328"/>
        <a:ext cx="10810359" cy="650354"/>
      </dsp:txXfrm>
    </dsp:sp>
    <dsp:sp modelId="{196D8D5C-AF3C-4B3F-BC76-432EBE3C6399}">
      <dsp:nvSpPr>
        <dsp:cNvPr id="0" name=""/>
        <dsp:cNvSpPr/>
      </dsp:nvSpPr>
      <dsp:spPr>
        <a:xfrm>
          <a:off x="0" y="3251504"/>
          <a:ext cx="10880725" cy="72072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5&gt;</a:t>
          </a:r>
        </a:p>
      </dsp:txBody>
      <dsp:txXfrm>
        <a:off x="35183" y="3286687"/>
        <a:ext cx="10810359" cy="650354"/>
      </dsp:txXfrm>
    </dsp:sp>
    <dsp:sp modelId="{5428FA35-71F9-4C21-98D3-3CA4D776F237}">
      <dsp:nvSpPr>
        <dsp:cNvPr id="0" name=""/>
        <dsp:cNvSpPr/>
      </dsp:nvSpPr>
      <dsp:spPr>
        <a:xfrm>
          <a:off x="0" y="4052864"/>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6&gt;</a:t>
          </a:r>
        </a:p>
      </dsp:txBody>
      <dsp:txXfrm>
        <a:off x="35183" y="4088047"/>
        <a:ext cx="10810359" cy="65035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C8067A-F908-4264-BD47-A53B7819A475}">
      <dsp:nvSpPr>
        <dsp:cNvPr id="0" name=""/>
        <dsp:cNvSpPr/>
      </dsp:nvSpPr>
      <dsp:spPr>
        <a:xfrm>
          <a:off x="0" y="2000"/>
          <a:ext cx="10880726"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987183C-B86E-4E6C-AC01-84433D68E1FF}">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2FFAB1C-F4D0-4F1E-84B9-CC508E178905}">
      <dsp:nvSpPr>
        <dsp:cNvPr id="0" name=""/>
        <dsp:cNvSpPr/>
      </dsp:nvSpPr>
      <dsp:spPr>
        <a:xfrm>
          <a:off x="1170963" y="2000"/>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dirty="0"/>
            <a:t>Automatically index every property of every record </a:t>
          </a:r>
        </a:p>
      </dsp:txBody>
      <dsp:txXfrm>
        <a:off x="1170963" y="2000"/>
        <a:ext cx="9709762" cy="1013820"/>
      </dsp:txXfrm>
    </dsp:sp>
    <dsp:sp modelId="{3C887993-146A-4C07-8144-A75CDE648FD0}">
      <dsp:nvSpPr>
        <dsp:cNvPr id="0" name=""/>
        <dsp:cNvSpPr/>
      </dsp:nvSpPr>
      <dsp:spPr>
        <a:xfrm>
          <a:off x="0" y="1269276"/>
          <a:ext cx="10880726"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31C92D1-C15A-4948-8518-0D61FA9C2B5D}">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E33858D-B49D-4849-A84B-D02B5E855001}">
      <dsp:nvSpPr>
        <dsp:cNvPr id="0" name=""/>
        <dsp:cNvSpPr/>
      </dsp:nvSpPr>
      <dsp:spPr>
        <a:xfrm>
          <a:off x="1170963" y="1269276"/>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No need for schema and index management</a:t>
          </a:r>
        </a:p>
      </dsp:txBody>
      <dsp:txXfrm>
        <a:off x="1170963" y="1269276"/>
        <a:ext cx="9709762" cy="1013820"/>
      </dsp:txXfrm>
    </dsp:sp>
    <dsp:sp modelId="{7DFFA013-8D24-4E76-8C39-D6E5BEDFE282}">
      <dsp:nvSpPr>
        <dsp:cNvPr id="0" name=""/>
        <dsp:cNvSpPr/>
      </dsp:nvSpPr>
      <dsp:spPr>
        <a:xfrm>
          <a:off x="0" y="2536552"/>
          <a:ext cx="10880726"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1CEE0F5-AE6F-4978-AC82-7F5BF02FA685}">
      <dsp:nvSpPr>
        <dsp:cNvPr id="0" name=""/>
        <dsp:cNvSpPr/>
      </dsp:nvSpPr>
      <dsp:spPr>
        <a:xfrm>
          <a:off x="306680" y="2764662"/>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2C53DBB-B2B3-495E-AAA1-B8EA54052C01}">
      <dsp:nvSpPr>
        <dsp:cNvPr id="0" name=""/>
        <dsp:cNvSpPr/>
      </dsp:nvSpPr>
      <dsp:spPr>
        <a:xfrm>
          <a:off x="1170963" y="2536552"/>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Latch-free data structure for write-optimized engine</a:t>
          </a:r>
        </a:p>
      </dsp:txBody>
      <dsp:txXfrm>
        <a:off x="1170963" y="2536552"/>
        <a:ext cx="9709762" cy="1013820"/>
      </dsp:txXfrm>
    </dsp:sp>
    <dsp:sp modelId="{233F9963-D5B8-4A55-9B91-634B4D43CADA}">
      <dsp:nvSpPr>
        <dsp:cNvPr id="0" name=""/>
        <dsp:cNvSpPr/>
      </dsp:nvSpPr>
      <dsp:spPr>
        <a:xfrm>
          <a:off x="0" y="3803828"/>
          <a:ext cx="10880726" cy="10138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9D9931D-FD93-4E55-9D4E-B1AF9C914834}">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83C97E8-96E8-41F2-904E-B79A2634EFA1}">
      <dsp:nvSpPr>
        <dsp:cNvPr id="0" name=""/>
        <dsp:cNvSpPr/>
      </dsp:nvSpPr>
      <dsp:spPr>
        <a:xfrm>
          <a:off x="1170963" y="3803828"/>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Multiple index types: hash, range, geospatial</a:t>
          </a:r>
        </a:p>
      </dsp:txBody>
      <dsp:txXfrm>
        <a:off x="1170963" y="3803828"/>
        <a:ext cx="9709762" cy="101382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4.09.2021</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9/14/2021</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azure/cosmos-db/index-policy"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cosmos-db/index-policy"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azure/cosmos-db/index-overview#from-trees-to-property-paths" TargetMode="External"/><Relationship Id="rId2" Type="http://schemas.openxmlformats.org/officeDocument/2006/relationships/slide" Target="../slides/slide48.xml"/><Relationship Id="rId1" Type="http://schemas.openxmlformats.org/officeDocument/2006/relationships/notesMaster" Target="../notesMasters/notesMaster1.xml"/><Relationship Id="rId5" Type="http://schemas.openxmlformats.org/officeDocument/2006/relationships/hyperlink" Target="https://docs.microsoft.com/en-us/azure/cosmos-db/time-to-live" TargetMode="External"/><Relationship Id="rId4" Type="http://schemas.openxmlformats.org/officeDocument/2006/relationships/hyperlink" Target="https://docs.microsoft.com/en-us/azure/cosmos-db/index-policy"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cosmos-db/find-request-unit-charge"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cosmos-db/cosmos-db-reserved-capacity"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ea.azure.com/" TargetMode="External"/><Relationship Id="rId5" Type="http://schemas.openxmlformats.org/officeDocument/2006/relationships/hyperlink" Target="https://docs.microsoft.com/en-us/azure/cost-management-billing/reservations/monthly-payments-reservations" TargetMode="External"/><Relationship Id="rId4" Type="http://schemas.openxmlformats.org/officeDocument/2006/relationships/hyperlink" Target="https://portal.azure.com/"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cosmos-db/how-pricing-work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9/14/2021</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4</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9/14/2021</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Open up “View RU Values through Azure Portal-Data Explorer document” under lab folder.</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Run the example queries </a:t>
            </a:r>
            <a:r>
              <a:rPr lang="en-US" sz="882">
                <a:solidFill>
                  <a:prstClr val="black"/>
                </a:solidFill>
                <a:latin typeface="Segoe UI Light" pitchFamily="34" charset="0"/>
              </a:rPr>
              <a:t>in document </a:t>
            </a:r>
            <a:r>
              <a:rPr lang="en-US" sz="882" dirty="0">
                <a:solidFill>
                  <a:prstClr val="black"/>
                </a:solidFill>
                <a:latin typeface="Segoe UI Light" pitchFamily="34" charset="0"/>
              </a:rPr>
              <a:t>to show customer how you can view RU values per query execution using Data Explorer in Azure Portal.  </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a:p>
            <a:endParaRPr lang="en-US" dirty="0"/>
          </a:p>
          <a:p>
            <a:endParaRPr lang="en-US" dirty="0"/>
          </a:p>
          <a:p>
            <a:r>
              <a:rPr lang="en-US" dirty="0"/>
              <a:t>Help students complete the lab </a:t>
            </a:r>
            <a:r>
              <a:rPr lang="en-US" sz="882" b="1" i="0" kern="1200" baseline="0" dirty="0">
                <a:solidFill>
                  <a:schemeClr val="tx1"/>
                </a:solidFill>
                <a:effectLst/>
                <a:latin typeface="+mn-lt"/>
                <a:ea typeface="+mn-ea"/>
                <a:cs typeface="+mn-cs"/>
              </a:rPr>
              <a:t>View Request Charges</a:t>
            </a:r>
            <a:endParaRPr lang="en-US" sz="882" b="0" i="0" kern="1200" baseline="0" dirty="0">
              <a:solidFill>
                <a:schemeClr val="tx1"/>
              </a:solidFill>
              <a:effectLst/>
              <a:latin typeface="+mn-lt"/>
              <a:ea typeface="+mn-ea"/>
              <a:cs typeface="+mn-cs"/>
            </a:endParaRPr>
          </a:p>
          <a:p>
            <a:br>
              <a:rPr lang="en-US" dirty="0"/>
            </a:b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436373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ue or false. Billing is based on computational usage, you only pay for what you use.</a:t>
            </a:r>
          </a:p>
          <a:p>
            <a:pPr marL="171450" indent="-171450">
              <a:buFont typeface="Arial" panose="020B0604020202020204" pitchFamily="34" charset="0"/>
              <a:buChar char="•"/>
            </a:pPr>
            <a:r>
              <a:rPr lang="en-US" dirty="0"/>
              <a:t>False, billing is based on allocated resources. You pay for what you reserve (RUs reserved)</a:t>
            </a:r>
            <a:br>
              <a:rPr lang="en-US" dirty="0"/>
            </a:br>
            <a:r>
              <a:rPr lang="en-US" sz="800" b="0" i="0" kern="1200" dirty="0">
                <a:solidFill>
                  <a:schemeClr val="tx1"/>
                </a:solidFill>
                <a:effectLst/>
                <a:latin typeface="Segoe UI Light" pitchFamily="34" charset="0"/>
                <a:ea typeface="+mn-ea"/>
                <a:cs typeface="+mn-cs"/>
              </a:rPr>
              <a:t>With Azure Cosmos DB, you pay for the throughput you provision and the storage you consume on an hourly basis.</a:t>
            </a:r>
            <a:endParaRPr lang="en-US" dirty="0"/>
          </a:p>
          <a:p>
            <a:endParaRPr lang="en-US" dirty="0"/>
          </a:p>
          <a:p>
            <a:r>
              <a:rPr lang="en-US" dirty="0"/>
              <a:t>What response header includes the number of RUs consumed for a given request?</a:t>
            </a:r>
          </a:p>
          <a:p>
            <a:pPr marL="171450" indent="-171450">
              <a:buFont typeface="Arial" panose="020B0604020202020204" pitchFamily="34" charset="0"/>
              <a:buChar char="•"/>
            </a:pPr>
            <a:r>
              <a:rPr lang="en-US" dirty="0"/>
              <a:t>“x-</a:t>
            </a:r>
            <a:r>
              <a:rPr lang="en-US" dirty="0" err="1"/>
              <a:t>ms</a:t>
            </a:r>
            <a:r>
              <a:rPr lang="en-US" dirty="0"/>
              <a:t>-request-charge”</a:t>
            </a:r>
          </a:p>
          <a:p>
            <a:endParaRPr lang="en-US" dirty="0"/>
          </a:p>
          <a:p>
            <a:r>
              <a:rPr lang="en-US" dirty="0"/>
              <a:t>What are the three pricing model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Provisioned throughput</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consumed storage</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Multi-Region</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33881253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7</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9/14/2021</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cosmos-db/request-units</a:t>
            </a:r>
          </a:p>
          <a:p>
            <a:endParaRPr lang="en-US" dirty="0"/>
          </a:p>
          <a:p>
            <a:r>
              <a:rPr lang="en-US" dirty="0"/>
              <a:t>RUs are managed and scalable at the container level </a:t>
            </a:r>
          </a:p>
          <a:p>
            <a:endParaRPr lang="en-US" sz="800" b="0" i="0" kern="1200" dirty="0">
              <a:solidFill>
                <a:schemeClr val="tx1"/>
              </a:solidFill>
              <a:effectLst/>
              <a:latin typeface="Segoe UI Light" pitchFamily="34" charset="0"/>
              <a:ea typeface="+mn-ea"/>
              <a:cs typeface="+mn-cs"/>
            </a:endParaRPr>
          </a:p>
          <a:p>
            <a:r>
              <a:rPr lang="en-US" dirty="0"/>
              <a:t>Operating hundreds of thousands of globally distributed and diverse workloads cost-effectively requires </a:t>
            </a:r>
            <a:r>
              <a:rPr lang="en-US" i="1" dirty="0"/>
              <a:t>fine-grained multi-tenancy</a:t>
            </a:r>
            <a:r>
              <a:rPr lang="en-US" dirty="0"/>
              <a:t>, where hundreds of customers share the same machine and yet thousands share the same cluster. To provide performance isolation to each customer while operating cost-effectively, we’ve engineered the entire system from the ground up with resource governance in mind. As a resource governed system, Azure Cosmos DB is a massively distributed queuing system with cascaded stages of components, each carefully calibrated to deliver predictable throughput while operating within the allotted budget of system resource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41401153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534686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Query data using Data Explorer in azure portal and view Request Charge values per query under Query Stats.  </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7469290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40923976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865310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7356113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dirty="0">
                <a:solidFill>
                  <a:schemeClr val="bg1"/>
                </a:solidFill>
                <a:latin typeface="Segoe UI Light" panose="020B0502040204020203" pitchFamily="34" charset="0"/>
                <a:cs typeface="Segoe UI Light" panose="020B0502040204020203" pitchFamily="34" charset="0"/>
              </a:rPr>
              <a:t>At </a:t>
            </a:r>
            <a:r>
              <a:rPr lang="en-US" sz="800" u="sng" dirty="0">
                <a:solidFill>
                  <a:schemeClr val="bg1"/>
                </a:solidFill>
                <a:latin typeface="Segoe UI Light" panose="020B0502040204020203" pitchFamily="34" charset="0"/>
                <a:cs typeface="Segoe UI Light" panose="020B0502040204020203" pitchFamily="34" charset="0"/>
              </a:rPr>
              <a:t>global scale</a:t>
            </a:r>
            <a:r>
              <a:rPr lang="en-US" sz="800" dirty="0">
                <a:solidFill>
                  <a:schemeClr val="bg1"/>
                </a:solidFill>
                <a:latin typeface="Segoe UI Light" panose="020B0502040204020203" pitchFamily="34" charset="0"/>
                <a:cs typeface="Segoe UI Light" panose="020B0502040204020203" pitchFamily="34" charset="0"/>
              </a:rPr>
              <a:t>, </a:t>
            </a:r>
            <a:r>
              <a:rPr lang="en-US" sz="800" dirty="0">
                <a:solidFill>
                  <a:srgbClr val="00B050"/>
                </a:solidFill>
                <a:latin typeface="Segoe UI Light" panose="020B0502040204020203" pitchFamily="34" charset="0"/>
                <a:cs typeface="Segoe UI Light" panose="020B0502040204020203" pitchFamily="34" charset="0"/>
              </a:rPr>
              <a:t>schema/index management is hard</a:t>
            </a:r>
          </a:p>
          <a:p>
            <a:pPr lvl="0"/>
            <a:endParaRPr lang="en-US" sz="800" dirty="0">
              <a:solidFill>
                <a:schemeClr val="bg1"/>
              </a:solidFill>
              <a:latin typeface="Segoe UI Light" panose="020B0502040204020203" pitchFamily="34" charset="0"/>
              <a:cs typeface="Segoe UI Light" panose="020B0502040204020203" pitchFamily="34" charset="0"/>
            </a:endParaRPr>
          </a:p>
          <a:p>
            <a:pPr lvl="0"/>
            <a:r>
              <a:rPr lang="en-US" sz="800" dirty="0">
                <a:solidFill>
                  <a:schemeClr val="bg1"/>
                </a:solidFill>
                <a:latin typeface="Segoe UI Light" panose="020B0502040204020203" pitchFamily="34" charset="0"/>
                <a:cs typeface="Segoe UI Light" panose="020B0502040204020203" pitchFamily="34" charset="0"/>
              </a:rPr>
              <a:t>Automatic and synchronous indexing of all ingested content - hash, range, geo-spatial, and columnar</a:t>
            </a:r>
          </a:p>
          <a:p>
            <a:pPr lvl="0"/>
            <a:endParaRPr lang="en-US" sz="800" dirty="0">
              <a:solidFill>
                <a:schemeClr val="bg1"/>
              </a:solidFill>
              <a:latin typeface="Segoe UI Light" panose="020B0502040204020203" pitchFamily="34" charset="0"/>
              <a:cs typeface="Segoe UI Light" panose="020B0502040204020203" pitchFamily="34" charset="0"/>
            </a:endParaRPr>
          </a:p>
          <a:p>
            <a:pPr lvl="0"/>
            <a:r>
              <a:rPr lang="en-US" sz="700" dirty="0">
                <a:solidFill>
                  <a:schemeClr val="bg1"/>
                </a:solidFill>
                <a:latin typeface="Segoe UI Light" panose="020B0502040204020203" pitchFamily="34" charset="0"/>
                <a:cs typeface="Segoe UI Light" panose="020B0502040204020203" pitchFamily="34" charset="0"/>
              </a:rPr>
              <a:t>No need to define schemas or secondary indices upfront</a:t>
            </a:r>
          </a:p>
          <a:p>
            <a:pPr lvl="0"/>
            <a:endParaRPr lang="en-US" sz="800" dirty="0">
              <a:solidFill>
                <a:schemeClr val="bg1"/>
              </a:solidFill>
              <a:latin typeface="Segoe UI Light" panose="020B0502040204020203" pitchFamily="34" charset="0"/>
              <a:cs typeface="Segoe UI Light" panose="020B0502040204020203" pitchFamily="34" charset="0"/>
            </a:endParaRPr>
          </a:p>
          <a:p>
            <a:pPr lvl="0"/>
            <a:r>
              <a:rPr lang="en-US" sz="800" dirty="0">
                <a:solidFill>
                  <a:schemeClr val="bg1"/>
                </a:solidFill>
                <a:latin typeface="Segoe UI Light" panose="020B0502040204020203" pitchFamily="34" charset="0"/>
                <a:cs typeface="Segoe UI Light" panose="020B0502040204020203" pitchFamily="34" charset="0"/>
              </a:rPr>
              <a:t>Resource governed, write optimized database engine with latch free and log structured techniques</a:t>
            </a:r>
          </a:p>
          <a:p>
            <a:pPr lvl="0"/>
            <a:endParaRPr lang="en-US" sz="800" dirty="0">
              <a:solidFill>
                <a:schemeClr val="bg1"/>
              </a:solidFill>
              <a:latin typeface="Segoe UI Light" panose="020B0502040204020203" pitchFamily="34" charset="0"/>
              <a:cs typeface="Segoe UI Light" panose="020B0502040204020203" pitchFamily="34" charset="0"/>
            </a:endParaRPr>
          </a:p>
          <a:p>
            <a:pPr lvl="0"/>
            <a:r>
              <a:rPr lang="en-US" sz="800" dirty="0">
                <a:solidFill>
                  <a:schemeClr val="bg1"/>
                </a:solidFill>
                <a:latin typeface="Segoe UI Light" panose="020B0502040204020203" pitchFamily="34" charset="0"/>
                <a:cs typeface="Segoe UI Light" panose="020B0502040204020203" pitchFamily="34" charset="0"/>
              </a:rPr>
              <a:t>Online and in-situ index transformations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a:p>
        </p:txBody>
      </p:sp>
    </p:spTree>
    <p:extLst>
      <p:ext uri="{BB962C8B-B14F-4D97-AF65-F5344CB8AC3E}">
        <p14:creationId xmlns:p14="http://schemas.microsoft.com/office/powerpoint/2010/main" val="11368675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dirty="0">
                <a:solidFill>
                  <a:schemeClr val="bg1"/>
                </a:solidFill>
                <a:latin typeface="Segoe UI Light" panose="020B0502040204020203" pitchFamily="34" charset="0"/>
                <a:cs typeface="Segoe UI Light" panose="020B0502040204020203" pitchFamily="34" charset="0"/>
              </a:rPr>
              <a:t>The root node represents the root document.</a:t>
            </a:r>
          </a:p>
          <a:p>
            <a:pPr lvl="0"/>
            <a:r>
              <a:rPr lang="en-US" sz="800" dirty="0">
                <a:solidFill>
                  <a:schemeClr val="bg1"/>
                </a:solidFill>
                <a:latin typeface="Segoe UI Light" panose="020B0502040204020203" pitchFamily="34" charset="0"/>
                <a:cs typeface="Segoe UI Light" panose="020B0502040204020203" pitchFamily="34" charset="0"/>
              </a:rPr>
              <a:t>Each child node is one level deeper into the properties of the root document.</a:t>
            </a:r>
          </a:p>
          <a:p>
            <a:pPr lvl="0"/>
            <a:r>
              <a:rPr lang="en-US" sz="800" dirty="0">
                <a:solidFill>
                  <a:schemeClr val="bg1"/>
                </a:solidFill>
                <a:latin typeface="Segoe UI Light" panose="020B0502040204020203" pitchFamily="34" charset="0"/>
                <a:cs typeface="Segoe UI Light" panose="020B0502040204020203" pitchFamily="34" charset="0"/>
              </a:rPr>
              <a:t>Each leaf node represents the instance values for the record</a:t>
            </a:r>
          </a:p>
          <a:p>
            <a:endParaRPr lang="en-US" dirty="0"/>
          </a:p>
          <a:p>
            <a:endParaRPr lang="en-US" dirty="0"/>
          </a:p>
          <a:p>
            <a:pPr lvl="0"/>
            <a:r>
              <a:rPr lang="en-US" sz="800" dirty="0">
                <a:solidFill>
                  <a:schemeClr val="bg1"/>
                </a:solidFill>
                <a:latin typeface="Segoe UI Light" panose="020B0502040204020203" pitchFamily="34" charset="0"/>
                <a:cs typeface="Segoe UI Light" panose="020B0502040204020203" pitchFamily="34" charset="0"/>
              </a:rPr>
              <a:t>In an inverted index, you can use filters in queries to quickly find documents that contain target records.</a:t>
            </a:r>
          </a:p>
          <a:p>
            <a:pPr lvl="0"/>
            <a:endParaRPr lang="en-US" sz="800" dirty="0">
              <a:solidFill>
                <a:schemeClr val="bg1"/>
              </a:solidFill>
              <a:latin typeface="Segoe UI Light" panose="020B0502040204020203" pitchFamily="34" charset="0"/>
              <a:cs typeface="Segoe UI Light" panose="020B0502040204020203" pitchFamily="34" charset="0"/>
            </a:endParaRPr>
          </a:p>
          <a:p>
            <a:pPr lvl="0"/>
            <a:r>
              <a:rPr lang="en-US" sz="800" dirty="0">
                <a:solidFill>
                  <a:schemeClr val="bg1"/>
                </a:solidFill>
                <a:latin typeface="Segoe UI Light" panose="020B0502040204020203" pitchFamily="34" charset="0"/>
                <a:cs typeface="Segoe UI Light" panose="020B0502040204020203" pitchFamily="34" charset="0"/>
              </a:rPr>
              <a:t>For example: Find me all locations in the country of Germany.</a:t>
            </a:r>
          </a:p>
          <a:p>
            <a:pPr lvl="0"/>
            <a:r>
              <a:rPr lang="en-US" sz="800" dirty="0">
                <a:solidFill>
                  <a:schemeClr val="bg1"/>
                </a:solidFill>
                <a:latin typeface="Segoe UI Light" panose="020B0502040204020203" pitchFamily="34" charset="0"/>
                <a:cs typeface="Segoe UI Light" panose="020B0502040204020203" pitchFamily="34" charset="0"/>
              </a:rPr>
              <a:t>Traverse the index tree to locations -&gt; country -&gt; Germany. And the leaf value will show that documents 1 and 2 have a location in the country of Germany.</a:t>
            </a:r>
          </a:p>
          <a:p>
            <a:pPr lvl="0"/>
            <a:endParaRPr lang="en-US" sz="800" dirty="0">
              <a:solidFill>
                <a:schemeClr val="bg1"/>
              </a:solidFill>
              <a:latin typeface="Segoe UI Light" panose="020B0502040204020203" pitchFamily="34" charset="0"/>
              <a:cs typeface="Segoe UI Light" panose="020B0502040204020203" pitchFamily="34" charset="0"/>
            </a:endParaRPr>
          </a:p>
          <a:p>
            <a:pPr lvl="0"/>
            <a:r>
              <a:rPr lang="en-US" sz="800" dirty="0">
                <a:solidFill>
                  <a:schemeClr val="bg1"/>
                </a:solidFill>
                <a:latin typeface="Segoe UI Light" panose="020B0502040204020203" pitchFamily="34" charset="0"/>
                <a:cs typeface="Segoe UI Light" panose="020B0502040204020203" pitchFamily="34" charset="0"/>
              </a:rPr>
              <a:t>This results in an index over every property of every record where each record does not have to have a shared schema</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a:p>
        </p:txBody>
      </p:sp>
    </p:spTree>
    <p:extLst>
      <p:ext uri="{BB962C8B-B14F-4D97-AF65-F5344CB8AC3E}">
        <p14:creationId xmlns:p14="http://schemas.microsoft.com/office/powerpoint/2010/main" val="4067019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kern="1200" dirty="0">
                <a:solidFill>
                  <a:schemeClr val="tx1"/>
                </a:solidFill>
                <a:effectLst/>
                <a:latin typeface="Segoe UI Light" pitchFamily="34" charset="0"/>
                <a:ea typeface="+mn-ea"/>
                <a:cs typeface="+mn-cs"/>
              </a:rPr>
              <a:t>Set at the collection level</a:t>
            </a:r>
          </a:p>
          <a:p>
            <a:endParaRPr lang="en-US" sz="800" b="1" i="0" kern="1200" dirty="0">
              <a:solidFill>
                <a:schemeClr val="tx1"/>
              </a:solidFill>
              <a:effectLst/>
              <a:latin typeface="Segoe UI Light" pitchFamily="34" charset="0"/>
              <a:ea typeface="+mn-ea"/>
              <a:cs typeface="+mn-cs"/>
            </a:endParaRPr>
          </a:p>
          <a:p>
            <a:r>
              <a:rPr lang="en-US" sz="800" b="1" i="0" kern="1200" dirty="0">
                <a:solidFill>
                  <a:schemeClr val="tx1"/>
                </a:solidFill>
                <a:effectLst/>
                <a:latin typeface="Segoe UI Light" pitchFamily="34" charset="0"/>
                <a:ea typeface="+mn-ea"/>
                <a:cs typeface="+mn-cs"/>
              </a:rPr>
              <a:t>Consistent</a:t>
            </a:r>
            <a:r>
              <a:rPr lang="en-US" sz="800" b="0" i="0" kern="1200" dirty="0">
                <a:solidFill>
                  <a:schemeClr val="tx1"/>
                </a:solidFill>
                <a:effectLst/>
                <a:latin typeface="Segoe UI Light" pitchFamily="34" charset="0"/>
                <a:ea typeface="+mn-ea"/>
                <a:cs typeface="+mn-cs"/>
              </a:rPr>
              <a:t>: If an Azure Cosmos DB collection’s policy is Consistent, the queries on a specific Azure Cosmos DB collection follow the same consistency level as specified for the point-reads (strong, bounded-staleness, session, or eventual). Consistent indexing supports consistent queries at the cost of a possible reduction in write throughput. This reduction is a function of the unique paths that need to be indexed and the “consistency level.” </a:t>
            </a:r>
          </a:p>
          <a:p>
            <a:endParaRPr lang="en-US" sz="800" b="0" i="0" kern="1200" dirty="0">
              <a:solidFill>
                <a:schemeClr val="tx1"/>
              </a:solidFill>
              <a:effectLst/>
              <a:latin typeface="Segoe UI Light" pitchFamily="34" charset="0"/>
              <a:ea typeface="+mn-ea"/>
              <a:cs typeface="+mn-cs"/>
            </a:endParaRPr>
          </a:p>
          <a:p>
            <a:r>
              <a:rPr lang="en-US" sz="800" b="1" i="0" kern="1200" dirty="0">
                <a:solidFill>
                  <a:schemeClr val="tx1"/>
                </a:solidFill>
                <a:effectLst/>
                <a:latin typeface="Segoe UI Light" pitchFamily="34" charset="0"/>
                <a:ea typeface="+mn-ea"/>
                <a:cs typeface="+mn-cs"/>
              </a:rPr>
              <a:t>Lazy: </a:t>
            </a:r>
            <a:r>
              <a:rPr lang="en-US" sz="882" b="0" i="0" kern="1200" baseline="0" dirty="0">
                <a:solidFill>
                  <a:schemeClr val="tx1"/>
                </a:solidFill>
                <a:effectLst/>
                <a:latin typeface="+mn-lt"/>
                <a:ea typeface="+mn-ea"/>
                <a:cs typeface="+mn-cs"/>
              </a:rPr>
              <a:t>Cosmos DB also supports a Lazy indexing mode. Lazy indexing performs updates to the index at a much lower priority level when the engine is not doing any other work. This can result in </a:t>
            </a:r>
            <a:r>
              <a:rPr lang="en-US" sz="882" b="1" i="0" kern="1200" baseline="0" dirty="0">
                <a:solidFill>
                  <a:schemeClr val="tx1"/>
                </a:solidFill>
                <a:effectLst/>
                <a:latin typeface="+mn-lt"/>
                <a:ea typeface="+mn-ea"/>
                <a:cs typeface="+mn-cs"/>
              </a:rPr>
              <a:t>inconsistent or incomplete</a:t>
            </a:r>
            <a:r>
              <a:rPr lang="en-US" sz="882" b="0" i="0" kern="1200" baseline="0" dirty="0">
                <a:solidFill>
                  <a:schemeClr val="tx1"/>
                </a:solidFill>
                <a:effectLst/>
                <a:latin typeface="+mn-lt"/>
                <a:ea typeface="+mn-ea"/>
                <a:cs typeface="+mn-cs"/>
              </a:rPr>
              <a:t> query results. </a:t>
            </a:r>
            <a:endParaRPr lang="en-US" sz="800" b="0" i="0" kern="1200" dirty="0">
              <a:solidFill>
                <a:schemeClr val="tx1"/>
              </a:solidFill>
              <a:effectLst/>
              <a:latin typeface="Segoe UI Light" pitchFamily="34" charset="0"/>
              <a:ea typeface="+mn-ea"/>
              <a:cs typeface="+mn-cs"/>
            </a:endParaRPr>
          </a:p>
          <a:p>
            <a:endParaRPr lang="en-US" sz="800" b="0" i="0" kern="1200" dirty="0">
              <a:solidFill>
                <a:schemeClr val="tx1"/>
              </a:solidFill>
              <a:effectLst/>
              <a:latin typeface="Segoe UI Light" pitchFamily="34" charset="0"/>
              <a:ea typeface="+mn-ea"/>
              <a:cs typeface="+mn-cs"/>
            </a:endParaRPr>
          </a:p>
          <a:p>
            <a:r>
              <a:rPr lang="en-US" sz="800" b="1" i="0" kern="1200" dirty="0">
                <a:solidFill>
                  <a:schemeClr val="tx1"/>
                </a:solidFill>
                <a:effectLst/>
                <a:latin typeface="Segoe UI Light" pitchFamily="34" charset="0"/>
                <a:ea typeface="+mn-ea"/>
                <a:cs typeface="+mn-cs"/>
              </a:rPr>
              <a:t>None</a:t>
            </a:r>
            <a:r>
              <a:rPr lang="en-US" sz="800" b="0" i="0" kern="1200" dirty="0">
                <a:solidFill>
                  <a:schemeClr val="tx1"/>
                </a:solidFill>
                <a:effectLst/>
                <a:latin typeface="Segoe UI Light" pitchFamily="34" charset="0"/>
                <a:ea typeface="+mn-ea"/>
                <a:cs typeface="+mn-cs"/>
              </a:rPr>
              <a:t>: A collection that has a None index mode has no index associated with it. This is commonly used if Azure Cosmos DB is used as a key-value storage, and documents are accessed only by their ID property.</a:t>
            </a:r>
          </a:p>
          <a:p>
            <a:pPr lvl="0"/>
            <a:endParaRPr lang="en-US" sz="80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a:p>
        </p:txBody>
      </p:sp>
    </p:spTree>
    <p:extLst>
      <p:ext uri="{BB962C8B-B14F-4D97-AF65-F5344CB8AC3E}">
        <p14:creationId xmlns:p14="http://schemas.microsoft.com/office/powerpoint/2010/main" val="3338597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t a glance view of average throughput directly through the Azure Portal.</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39033061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cosmos-db/index-policy</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a:p>
        </p:txBody>
      </p:sp>
    </p:spTree>
    <p:extLst>
      <p:ext uri="{BB962C8B-B14F-4D97-AF65-F5344CB8AC3E}">
        <p14:creationId xmlns:p14="http://schemas.microsoft.com/office/powerpoint/2010/main" val="39908061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dirty="0">
                <a:hlinkClick r:id="rId3"/>
              </a:rPr>
              <a:t>https://docs.microsoft.com/en-us/azure/cosmos-db/index-policy</a:t>
            </a:r>
            <a:endParaRPr lang="en-US" sz="800" dirty="0"/>
          </a:p>
          <a:p>
            <a:pPr lvl="0"/>
            <a:endParaRPr lang="en-US" sz="800" dirty="0"/>
          </a:p>
          <a:p>
            <a:pPr lvl="0"/>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a:p>
        </p:txBody>
      </p:sp>
    </p:spTree>
    <p:extLst>
      <p:ext uri="{BB962C8B-B14F-4D97-AF65-F5344CB8AC3E}">
        <p14:creationId xmlns:p14="http://schemas.microsoft.com/office/powerpoint/2010/main" val="40332263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kern="1200" dirty="0">
                <a:solidFill>
                  <a:schemeClr val="tx1"/>
                </a:solidFill>
                <a:effectLst/>
                <a:latin typeface="Segoe UI Light" pitchFamily="34" charset="0"/>
                <a:ea typeface="+mn-ea"/>
                <a:cs typeface="+mn-cs"/>
              </a:rPr>
              <a:t>Azure Cosmos DB models JSON documents and the index as trees. You can tune to policies for paths within the tree. Within documents, you can choose the paths to include or exclude from indexing. This can offer improved write performance and lower index storage for scenarios in which the query patterns are known beforehand.</a:t>
            </a:r>
          </a:p>
          <a:p>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Index paths start with the root (/) and typically end with the ? wildcard operator. This denotes that there are multiple possible values for the prefix. For example, to serve SELECT * FROM Families F WHERE </a:t>
            </a:r>
            <a:r>
              <a:rPr lang="en-US" sz="800" b="0" i="0" kern="1200" dirty="0" err="1">
                <a:solidFill>
                  <a:schemeClr val="tx1"/>
                </a:solidFill>
                <a:effectLst/>
                <a:latin typeface="Segoe UI Light" pitchFamily="34" charset="0"/>
                <a:ea typeface="+mn-ea"/>
                <a:cs typeface="+mn-cs"/>
              </a:rPr>
              <a:t>F.familyName</a:t>
            </a:r>
            <a:r>
              <a:rPr lang="en-US" sz="800" b="0" i="0" kern="1200" dirty="0">
                <a:solidFill>
                  <a:schemeClr val="tx1"/>
                </a:solidFill>
                <a:effectLst/>
                <a:latin typeface="Segoe UI Light" pitchFamily="34" charset="0"/>
                <a:ea typeface="+mn-ea"/>
                <a:cs typeface="+mn-cs"/>
              </a:rPr>
              <a:t> = "Andersen", you must include an index path for /</a:t>
            </a:r>
            <a:r>
              <a:rPr lang="en-US" sz="800" b="0" i="0" kern="1200" dirty="0" err="1">
                <a:solidFill>
                  <a:schemeClr val="tx1"/>
                </a:solidFill>
                <a:effectLst/>
                <a:latin typeface="Segoe UI Light" pitchFamily="34" charset="0"/>
                <a:ea typeface="+mn-ea"/>
                <a:cs typeface="+mn-cs"/>
              </a:rPr>
              <a:t>familyName</a:t>
            </a:r>
            <a:r>
              <a:rPr lang="en-US" sz="800" b="0" i="0" kern="1200" dirty="0">
                <a:solidFill>
                  <a:schemeClr val="tx1"/>
                </a:solidFill>
                <a:effectLst/>
                <a:latin typeface="Segoe UI Light" pitchFamily="34" charset="0"/>
                <a:ea typeface="+mn-ea"/>
                <a:cs typeface="+mn-cs"/>
              </a:rPr>
              <a:t>/? in the collection’s index policy.</a:t>
            </a:r>
          </a:p>
          <a:p>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Index paths can also use the * wildcard operator to specify the behavior for paths recursively under the prefix. For example, /payload/* can be used to exclude everything under the payload property from indexing.</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a:p>
        </p:txBody>
      </p:sp>
    </p:spTree>
    <p:extLst>
      <p:ext uri="{BB962C8B-B14F-4D97-AF65-F5344CB8AC3E}">
        <p14:creationId xmlns:p14="http://schemas.microsoft.com/office/powerpoint/2010/main" val="26527112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A custom indexing policy can specify property paths that are explicitly included or excluded from indexing. By optimizing the number of paths that are indexed, you can lower the amount of storage used by your container and improve the latency of write operations. These paths are defined following </a:t>
            </a:r>
            <a:r>
              <a:rPr lang="en-US" sz="882" b="0" i="0" u="sng" kern="1200" baseline="0" dirty="0">
                <a:solidFill>
                  <a:schemeClr val="tx1"/>
                </a:solidFill>
                <a:effectLst/>
                <a:latin typeface="+mn-lt"/>
                <a:ea typeface="+mn-ea"/>
                <a:cs typeface="+mn-cs"/>
                <a:hlinkClick r:id="rId3"/>
              </a:rPr>
              <a:t>the method described in the indexing overview section</a:t>
            </a:r>
            <a:r>
              <a:rPr lang="en-US" sz="882" b="0" i="0" kern="1200" baseline="0" dirty="0">
                <a:solidFill>
                  <a:schemeClr val="tx1"/>
                </a:solidFill>
                <a:effectLst/>
                <a:latin typeface="+mn-lt"/>
                <a:ea typeface="+mn-ea"/>
                <a:cs typeface="+mn-cs"/>
              </a:rPr>
              <a:t> with the following additions:</a:t>
            </a:r>
          </a:p>
          <a:p>
            <a:endParaRPr lang="en-US" sz="882" b="0" i="0" kern="1200" baseline="0" dirty="0">
              <a:solidFill>
                <a:schemeClr val="tx1"/>
              </a:solidFill>
              <a:effectLst/>
              <a:latin typeface="+mn-lt"/>
              <a:ea typeface="+mn-ea"/>
              <a:cs typeface="+mn-cs"/>
            </a:endParaRPr>
          </a:p>
          <a:p>
            <a:endParaRPr lang="en-US" dirty="0">
              <a:hlinkClick r:id="rId4"/>
            </a:endParaRPr>
          </a:p>
          <a:p>
            <a:r>
              <a:rPr lang="en-US" sz="800" b="0" i="0" kern="1200" dirty="0">
                <a:solidFill>
                  <a:schemeClr val="tx1"/>
                </a:solidFill>
                <a:effectLst/>
                <a:latin typeface="Segoe UI Light" pitchFamily="34" charset="0"/>
                <a:ea typeface="+mn-ea"/>
                <a:cs typeface="+mn-cs"/>
              </a:rPr>
              <a:t>Excluding all property paths: </a:t>
            </a:r>
          </a:p>
          <a:p>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This policy can be used in situations where the </a:t>
            </a:r>
            <a:r>
              <a:rPr lang="en-US" sz="800" b="0" i="0" u="sng" kern="1200" dirty="0">
                <a:solidFill>
                  <a:schemeClr val="tx1"/>
                </a:solidFill>
                <a:effectLst/>
                <a:latin typeface="Segoe UI Light" pitchFamily="34" charset="0"/>
                <a:ea typeface="+mn-ea"/>
                <a:cs typeface="+mn-cs"/>
                <a:hlinkClick r:id="rId5"/>
              </a:rPr>
              <a:t>Time-to-Live (TTL) feature</a:t>
            </a:r>
            <a:r>
              <a:rPr lang="en-US" sz="800" b="0" i="0" kern="1200" dirty="0">
                <a:solidFill>
                  <a:schemeClr val="tx1"/>
                </a:solidFill>
                <a:effectLst/>
                <a:latin typeface="Segoe UI Light" pitchFamily="34" charset="0"/>
                <a:ea typeface="+mn-ea"/>
                <a:cs typeface="+mn-cs"/>
              </a:rPr>
              <a:t> is active but no secondary index is required (to use Azure Cosmos DB as a pure key-value store).</a:t>
            </a:r>
          </a:p>
          <a:p>
            <a:br>
              <a:rPr lang="en-US" sz="800" b="0" i="0" kern="1200" dirty="0">
                <a:solidFill>
                  <a:schemeClr val="tx1"/>
                </a:solidFill>
                <a:effectLst/>
                <a:latin typeface="Segoe UI Light" pitchFamily="34" charset="0"/>
                <a:ea typeface="+mn-ea"/>
                <a:cs typeface="+mn-cs"/>
              </a:rPr>
            </a:br>
            <a:r>
              <a:rPr lang="en-US" sz="800" b="0" i="0" kern="1200" dirty="0">
                <a:solidFill>
                  <a:schemeClr val="tx1"/>
                </a:solidFill>
                <a:effectLst/>
                <a:latin typeface="Segoe UI Light" pitchFamily="34" charset="0"/>
                <a:ea typeface="+mn-ea"/>
                <a:cs typeface="+mn-cs"/>
              </a:rPr>
              <a:t>No Indexing:</a:t>
            </a:r>
          </a:p>
          <a:p>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This policy will turn off indexing. If </a:t>
            </a:r>
            <a:r>
              <a:rPr lang="en-US" sz="800" b="0" i="0" kern="1200">
                <a:solidFill>
                  <a:schemeClr val="tx1"/>
                </a:solidFill>
                <a:effectLst/>
                <a:latin typeface="Segoe UI Light" pitchFamily="34" charset="0"/>
                <a:ea typeface="+mn-ea"/>
                <a:cs typeface="+mn-cs"/>
              </a:rPr>
              <a:t>I</a:t>
            </a:r>
            <a:r>
              <a:rPr lang="en-US"/>
              <a:t>ndexingMode</a:t>
            </a:r>
            <a:r>
              <a:rPr lang="en-US" sz="800" b="0" i="0" kern="1200" dirty="0">
                <a:solidFill>
                  <a:schemeClr val="tx1"/>
                </a:solidFill>
                <a:effectLst/>
                <a:latin typeface="Segoe UI Light" pitchFamily="34" charset="0"/>
                <a:ea typeface="+mn-ea"/>
                <a:cs typeface="+mn-cs"/>
              </a:rPr>
              <a:t> is set to </a:t>
            </a:r>
            <a:r>
              <a:rPr lang="en-US" dirty="0"/>
              <a:t>none</a:t>
            </a:r>
            <a:r>
              <a:rPr lang="en-US" sz="800" b="0" i="0" kern="1200" dirty="0">
                <a:solidFill>
                  <a:schemeClr val="tx1"/>
                </a:solidFill>
                <a:effectLst/>
                <a:latin typeface="Segoe UI Light" pitchFamily="34" charset="0"/>
                <a:ea typeface="+mn-ea"/>
                <a:cs typeface="+mn-cs"/>
              </a:rPr>
              <a:t>, you cannot set a TTL on the container.</a:t>
            </a:r>
          </a:p>
          <a:p>
            <a:endParaRPr lang="en-US" dirty="0">
              <a:hlinkClick r:id="rId4"/>
            </a:endParaRPr>
          </a:p>
          <a:p>
            <a:endParaRPr lang="en-US" dirty="0">
              <a:hlinkClick r:id="rId4"/>
            </a:endParaRPr>
          </a:p>
          <a:p>
            <a:endParaRPr lang="en-US" dirty="0">
              <a:hlinkClick r:id="rId4"/>
            </a:endParaRPr>
          </a:p>
          <a:p>
            <a:endParaRPr lang="en-US" dirty="0">
              <a:hlinkClick r:id="rId4"/>
            </a:endParaRPr>
          </a:p>
          <a:p>
            <a:r>
              <a:rPr lang="en-US" dirty="0">
                <a:hlinkClick r:id="rId4"/>
              </a:rPr>
              <a:t>https://docs.microsoft.com/en-us/azure/cosmos-db/index-policy</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a:p>
        </p:txBody>
      </p:sp>
    </p:spTree>
    <p:extLst>
      <p:ext uri="{BB962C8B-B14F-4D97-AF65-F5344CB8AC3E}">
        <p14:creationId xmlns:p14="http://schemas.microsoft.com/office/powerpoint/2010/main" val="16208430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b="0" i="0" kern="1200" dirty="0">
                <a:solidFill>
                  <a:schemeClr val="tx1"/>
                </a:solidFill>
                <a:effectLst/>
                <a:latin typeface="Segoe UI Light" pitchFamily="34" charset="0"/>
                <a:ea typeface="+mn-ea"/>
                <a:cs typeface="+mn-cs"/>
              </a:rPr>
              <a:t>By default, Azure Cosmos DB will create a range index on every property. For many workloads, these indexes are enough, and no further optimizations are necessary. </a:t>
            </a:r>
          </a:p>
          <a:p>
            <a:pPr lvl="0"/>
            <a:endParaRPr lang="en-US" sz="800" b="0" i="0" kern="1200" dirty="0">
              <a:solidFill>
                <a:schemeClr val="tx1"/>
              </a:solidFill>
              <a:effectLst/>
              <a:latin typeface="Segoe UI Light" pitchFamily="34" charset="0"/>
              <a:ea typeface="+mn-ea"/>
              <a:cs typeface="+mn-cs"/>
            </a:endParaRPr>
          </a:p>
          <a:p>
            <a:pPr lvl="0"/>
            <a:r>
              <a:rPr lang="en-US" sz="800" b="0" i="0" kern="1200" dirty="0">
                <a:solidFill>
                  <a:schemeClr val="tx1"/>
                </a:solidFill>
                <a:effectLst/>
                <a:latin typeface="Segoe UI Light" pitchFamily="34" charset="0"/>
                <a:ea typeface="+mn-ea"/>
                <a:cs typeface="+mn-cs"/>
              </a:rPr>
              <a:t>Composite indexes can be added in addition to the default range indexes. Composite indexes have both a path and order (ASC or DESC) defined for each property within the composite index.</a:t>
            </a:r>
          </a:p>
          <a:p>
            <a:pPr lvl="0"/>
            <a:endParaRPr lang="en-US" sz="800" b="0" i="0" kern="1200" dirty="0">
              <a:solidFill>
                <a:schemeClr val="tx1"/>
              </a:solidFill>
              <a:effectLst/>
              <a:latin typeface="Segoe UI Light" pitchFamily="34" charset="0"/>
              <a:ea typeface="+mn-ea"/>
              <a:cs typeface="+mn-cs"/>
            </a:endParaRPr>
          </a:p>
          <a:p>
            <a:pPr lvl="0"/>
            <a:r>
              <a:rPr lang="en-US" sz="800" b="0" i="0" kern="1200" dirty="0">
                <a:solidFill>
                  <a:schemeClr val="tx1"/>
                </a:solidFill>
                <a:effectLst/>
                <a:latin typeface="Segoe UI Light" pitchFamily="34" charset="0"/>
                <a:ea typeface="+mn-ea"/>
                <a:cs typeface="+mn-cs"/>
              </a:rPr>
              <a:t>Composite indexes will have a performance benefit for queries that have a filter and have an ORDER BY clause on different properties. </a:t>
            </a:r>
          </a:p>
          <a:p>
            <a:pPr lvl="0"/>
            <a:endParaRPr lang="en-US" sz="800" b="0" i="0" kern="1200" dirty="0">
              <a:solidFill>
                <a:schemeClr val="tx1"/>
              </a:solidFill>
              <a:effectLst/>
              <a:latin typeface="Segoe UI Light" pitchFamily="34" charset="0"/>
              <a:ea typeface="+mn-ea"/>
              <a:cs typeface="+mn-cs"/>
            </a:endParaRPr>
          </a:p>
          <a:p>
            <a:pPr lvl="0"/>
            <a:endParaRPr lang="en-US" sz="800" b="0" i="0" kern="1200" dirty="0">
              <a:solidFill>
                <a:schemeClr val="tx1"/>
              </a:solidFill>
              <a:effectLst/>
              <a:latin typeface="Segoe UI Light" pitchFamily="34" charset="0"/>
              <a:ea typeface="+mn-ea"/>
              <a:cs typeface="+mn-cs"/>
            </a:endParaRPr>
          </a:p>
          <a:p>
            <a:pPr lvl="0"/>
            <a:r>
              <a:rPr lang="en-US" sz="800" b="0" i="0" kern="1200" dirty="0">
                <a:solidFill>
                  <a:schemeClr val="tx1"/>
                </a:solidFill>
                <a:effectLst/>
                <a:latin typeface="Segoe UI Light" pitchFamily="34" charset="0"/>
                <a:ea typeface="+mn-ea"/>
                <a:cs typeface="+mn-cs"/>
              </a:rPr>
              <a:t>Example: </a:t>
            </a:r>
          </a:p>
          <a:p>
            <a:pPr lvl="0"/>
            <a:endParaRPr lang="en-US" sz="800" b="0" i="0" kern="1200" dirty="0">
              <a:solidFill>
                <a:schemeClr val="tx1"/>
              </a:solidFill>
              <a:effectLst/>
              <a:latin typeface="Segoe UI Light" pitchFamily="34" charset="0"/>
              <a:ea typeface="+mn-ea"/>
              <a:cs typeface="+mn-cs"/>
            </a:endParaRPr>
          </a:p>
          <a:p>
            <a:pPr lvl="0"/>
            <a:r>
              <a:rPr lang="en-US" sz="800" b="0" i="0" kern="1200" dirty="0">
                <a:solidFill>
                  <a:schemeClr val="tx1"/>
                </a:solidFill>
                <a:effectLst/>
                <a:latin typeface="Segoe UI Light" pitchFamily="34" charset="0"/>
                <a:ea typeface="+mn-ea"/>
                <a:cs typeface="+mn-cs"/>
              </a:rPr>
              <a:t>SELECT *</a:t>
            </a:r>
          </a:p>
          <a:p>
            <a:pPr lvl="0"/>
            <a:r>
              <a:rPr lang="en-US" sz="800" b="0" i="0" kern="1200" dirty="0">
                <a:solidFill>
                  <a:schemeClr val="tx1"/>
                </a:solidFill>
                <a:effectLst/>
                <a:latin typeface="Segoe UI Light" pitchFamily="34" charset="0"/>
                <a:ea typeface="+mn-ea"/>
                <a:cs typeface="+mn-cs"/>
              </a:rPr>
              <a:t>    FROM c</a:t>
            </a:r>
          </a:p>
          <a:p>
            <a:pPr lvl="0"/>
            <a:r>
              <a:rPr lang="en-US" sz="800" b="0" i="0" kern="1200" dirty="0">
                <a:solidFill>
                  <a:schemeClr val="tx1"/>
                </a:solidFill>
                <a:effectLst/>
                <a:latin typeface="Segoe UI Light" pitchFamily="34" charset="0"/>
                <a:ea typeface="+mn-ea"/>
                <a:cs typeface="+mn-cs"/>
              </a:rPr>
              <a:t>    ORDER BY c.name DESC, </a:t>
            </a:r>
            <a:r>
              <a:rPr lang="en-US" sz="800" b="0" i="0" kern="1200" dirty="0" err="1">
                <a:solidFill>
                  <a:schemeClr val="tx1"/>
                </a:solidFill>
                <a:effectLst/>
                <a:latin typeface="Segoe UI Light" pitchFamily="34" charset="0"/>
                <a:ea typeface="+mn-ea"/>
                <a:cs typeface="+mn-cs"/>
              </a:rPr>
              <a:t>c.age</a:t>
            </a:r>
            <a:r>
              <a:rPr lang="en-US" sz="800" b="0" i="0" kern="1200" dirty="0">
                <a:solidFill>
                  <a:schemeClr val="tx1"/>
                </a:solidFill>
                <a:effectLst/>
                <a:latin typeface="Segoe UI Light" pitchFamily="34" charset="0"/>
                <a:ea typeface="+mn-ea"/>
                <a:cs typeface="+mn-cs"/>
              </a:rPr>
              <a:t> ASC</a:t>
            </a:r>
          </a:p>
          <a:p>
            <a:pPr lvl="0"/>
            <a:endParaRPr lang="en-US" sz="800" b="0" i="0" kern="1200" dirty="0">
              <a:solidFill>
                <a:schemeClr val="tx1"/>
              </a:solidFill>
              <a:effectLst/>
              <a:latin typeface="Segoe UI Light" pitchFamily="34" charset="0"/>
              <a:ea typeface="+mn-ea"/>
              <a:cs typeface="+mn-cs"/>
            </a:endParaRPr>
          </a:p>
          <a:p>
            <a:pPr lvl="0"/>
            <a:endParaRPr lang="en-US" sz="800" b="0" i="0" kern="1200" dirty="0">
              <a:solidFill>
                <a:schemeClr val="tx1"/>
              </a:solidFill>
              <a:effectLst/>
              <a:latin typeface="Segoe UI Light" pitchFamily="34" charset="0"/>
              <a:ea typeface="+mn-ea"/>
              <a:cs typeface="+mn-cs"/>
            </a:endParaRPr>
          </a:p>
          <a:p>
            <a:pPr lvl="0"/>
            <a:endParaRPr lang="en-US" sz="800" dirty="0">
              <a:solidFill>
                <a:schemeClr val="bg1"/>
              </a:solidFill>
              <a:latin typeface="Segoe UI Light" panose="020B0502040204020203" pitchFamily="34" charset="0"/>
              <a:cs typeface="Segoe UI Light"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a:p>
        </p:txBody>
      </p:sp>
    </p:spTree>
    <p:extLst>
      <p:ext uri="{BB962C8B-B14F-4D97-AF65-F5344CB8AC3E}">
        <p14:creationId xmlns:p14="http://schemas.microsoft.com/office/powerpoint/2010/main" val="40640779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cosmos-db/indexing-policies#modify-the-indexing-policy-of-a-collection</a:t>
            </a:r>
          </a:p>
          <a:p>
            <a:endParaRPr lang="en-US" dirty="0"/>
          </a:p>
          <a:p>
            <a:endParaRPr lang="en-US" dirty="0"/>
          </a:p>
          <a:p>
            <a:r>
              <a:rPr lang="en-US" sz="800" b="0" i="0" kern="1200" dirty="0">
                <a:solidFill>
                  <a:schemeClr val="tx1"/>
                </a:solidFill>
                <a:effectLst/>
                <a:latin typeface="Segoe UI Light" pitchFamily="34" charset="0"/>
                <a:ea typeface="+mn-ea"/>
                <a:cs typeface="+mn-cs"/>
              </a:rPr>
              <a:t>Changes are applied to move from the old index to the new primarily based on the indexing mode configurations. Indexing mode configurations play a larger role than other values like included/excluded paths, index kinds, and precisions.</a:t>
            </a:r>
          </a:p>
          <a:p>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If your old and new policies both use Consistent indexing, Azure Cosmos DB performs an online index transformation. You can't apply another indexing policy change that has Consistent indexing mode while the transformation is in progress. However, you can move to Lazy or None indexing mode while a transformation is in progress:</a:t>
            </a:r>
          </a:p>
          <a:p>
            <a:pPr marL="171450" indent="-171450">
              <a:buFont typeface="Arial" panose="020B0604020202020204" pitchFamily="34" charset="0"/>
              <a:buChar char="•"/>
            </a:pPr>
            <a:r>
              <a:rPr lang="en-US" sz="800" b="0" i="0" kern="1200" dirty="0">
                <a:solidFill>
                  <a:schemeClr val="tx1"/>
                </a:solidFill>
                <a:effectLst/>
                <a:latin typeface="Segoe UI Light" pitchFamily="34" charset="0"/>
                <a:ea typeface="+mn-ea"/>
                <a:cs typeface="+mn-cs"/>
              </a:rPr>
              <a:t>When you move to Lazy, the index policy change is effective immediately. Azure Cosmos DB starts re-creating the index asynchronously.</a:t>
            </a:r>
          </a:p>
          <a:p>
            <a:pPr marL="171450" indent="-171450">
              <a:buFont typeface="Arial" panose="020B0604020202020204" pitchFamily="34" charset="0"/>
              <a:buChar char="•"/>
            </a:pPr>
            <a:r>
              <a:rPr lang="en-US" sz="800" b="0" i="0" kern="1200" dirty="0">
                <a:solidFill>
                  <a:schemeClr val="tx1"/>
                </a:solidFill>
                <a:effectLst/>
                <a:latin typeface="Segoe UI Light" pitchFamily="34" charset="0"/>
                <a:ea typeface="+mn-ea"/>
                <a:cs typeface="+mn-cs"/>
              </a:rPr>
              <a:t>When you move to None, the index is dropped immediately. Moving to None is useful when you want to cancel an in-progress transformation, and start fresh with a different indexing policy.</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a:p>
        </p:txBody>
      </p:sp>
    </p:spTree>
    <p:extLst>
      <p:ext uri="{BB962C8B-B14F-4D97-AF65-F5344CB8AC3E}">
        <p14:creationId xmlns:p14="http://schemas.microsoft.com/office/powerpoint/2010/main" val="8105241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Open the Viewing and managing index policy documen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 Show customer how you can modify index policies using the Azure Portal.  Document </a:t>
            </a:r>
            <a:r>
              <a:rPr lang="en-US" sz="882">
                <a:solidFill>
                  <a:prstClr val="black"/>
                </a:solidFill>
                <a:latin typeface="Segoe UI Light" pitchFamily="34" charset="0"/>
              </a:rPr>
              <a:t>contains the detail </a:t>
            </a:r>
            <a:r>
              <a:rPr lang="en-US" sz="882" dirty="0">
                <a:solidFill>
                  <a:prstClr val="black"/>
                </a:solidFill>
                <a:latin typeface="Segoe UI Light" pitchFamily="34" charset="0"/>
              </a:rPr>
              <a:t>info in steps.  </a:t>
            </a: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196135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a:p>
            <a:endParaRPr lang="en-US" dirty="0"/>
          </a:p>
          <a:p>
            <a:r>
              <a:rPr lang="en-US" dirty="0">
                <a:latin typeface="Segoe UI Light"/>
                <a:cs typeface="Segoe UI Light"/>
              </a:rPr>
              <a:t>Walk through the lab as a class.</a:t>
            </a:r>
          </a:p>
          <a:p>
            <a:br>
              <a:rPr lang="en-US" dirty="0">
                <a:cs typeface="Segoe UI Light"/>
              </a:rPr>
            </a:br>
            <a:r>
              <a:rPr lang="en-US" dirty="0">
                <a:latin typeface="Segoe UI Light"/>
                <a:cs typeface="Segoe UI Light"/>
              </a:rPr>
              <a:t>Complete the lab with the students. Students should complete the lab on their machines along with you. Go through the lab manual steps and the comments in the C# program to teach students how indexing policies can be set and used programmaticall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17889357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the three index kinds? </a:t>
            </a:r>
          </a:p>
          <a:p>
            <a:pPr marL="171450" indent="-171450">
              <a:buFont typeface="Arial" panose="020B0604020202020204" pitchFamily="34" charset="0"/>
              <a:buChar char="•"/>
            </a:pPr>
            <a:r>
              <a:rPr lang="en-US" dirty="0"/>
              <a:t>Hash, Range, Spatial</a:t>
            </a:r>
          </a:p>
          <a:p>
            <a:endParaRPr lang="en-US" dirty="0"/>
          </a:p>
          <a:p>
            <a:r>
              <a:rPr lang="en-US" dirty="0"/>
              <a:t>What are the three indexing modes?</a:t>
            </a:r>
          </a:p>
          <a:p>
            <a:pPr marL="171450" indent="-171450">
              <a:buFont typeface="Arial" panose="020B0604020202020204" pitchFamily="34" charset="0"/>
              <a:buChar char="•"/>
            </a:pPr>
            <a:r>
              <a:rPr lang="en-US" dirty="0"/>
              <a:t>Consistent, eventual, none</a:t>
            </a:r>
          </a:p>
          <a:p>
            <a:endParaRPr lang="en-US" dirty="0"/>
          </a:p>
          <a:p>
            <a:r>
              <a:rPr lang="en-US" dirty="0"/>
              <a:t>Policies can be updated using?</a:t>
            </a:r>
          </a:p>
          <a:p>
            <a:pPr marL="171450" lvl="0" indent="-171450">
              <a:buFont typeface="Arial" panose="020B0604020202020204" pitchFamily="34" charset="0"/>
              <a:buChar char="•"/>
            </a:pPr>
            <a:r>
              <a:rPr lang="en-US" dirty="0"/>
              <a:t>the Azure portal</a:t>
            </a:r>
          </a:p>
          <a:p>
            <a:pPr marL="171450" lvl="0" indent="-171450">
              <a:buFont typeface="Arial" panose="020B0604020202020204" pitchFamily="34" charset="0"/>
              <a:buChar char="•"/>
            </a:pPr>
            <a:r>
              <a:rPr lang="en-US" dirty="0"/>
              <a:t>Azure CLI</a:t>
            </a:r>
          </a:p>
          <a:p>
            <a:pPr marL="171450" lvl="0" indent="-171450">
              <a:buFont typeface="Arial" panose="020B0604020202020204" pitchFamily="34" charset="0"/>
              <a:buChar char="•"/>
            </a:pPr>
            <a:r>
              <a:rPr lang="en-US" dirty="0"/>
              <a:t>PowerShell</a:t>
            </a:r>
          </a:p>
          <a:p>
            <a:pPr marL="171450" lvl="0" indent="-171450">
              <a:buFont typeface="Arial" panose="020B0604020202020204" pitchFamily="34" charset="0"/>
              <a:buChar char="•"/>
            </a:pPr>
            <a:r>
              <a:rPr lang="en-US" dirty="0"/>
              <a:t>using one of the SDK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a:p>
        </p:txBody>
      </p:sp>
    </p:spTree>
    <p:extLst>
      <p:ext uri="{BB962C8B-B14F-4D97-AF65-F5344CB8AC3E}">
        <p14:creationId xmlns:p14="http://schemas.microsoft.com/office/powerpoint/2010/main" val="5166265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842842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important to note that billing charges are based on the resources reserved based on the container RU capacity. Billing is not based on usage. This is to ensure multi-tenant SLA guarantees. It is very easy to instantly scale resources through the RU abstraction.</a:t>
            </a:r>
          </a:p>
          <a:p>
            <a:endParaRPr lang="en-US" dirty="0"/>
          </a:p>
          <a:p>
            <a:r>
              <a:rPr lang="en-US" dirty="0"/>
              <a:t>Pricing:</a:t>
            </a:r>
          </a:p>
          <a:p>
            <a:r>
              <a:rPr lang="en-US" dirty="0"/>
              <a:t>https://azure.microsoft.com/en-us/pricing/details/cosmos-db/</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37583370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2409472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1166293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3486201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8029151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3778183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5902573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15397779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5439784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cosmos-db/request-units#estimating-throughput-needs</a:t>
            </a:r>
          </a:p>
          <a:p>
            <a:endParaRPr lang="en-US" dirty="0"/>
          </a:p>
          <a:p>
            <a:r>
              <a:rPr lang="en-US" dirty="0"/>
              <a:t>-The standard “RU” is reading 1 KB of data. Therefore the calculation is 500 * 1 for the number of Request Units used. A write consumes roughly 5 RUs for a single 1KB read</a:t>
            </a:r>
          </a:p>
          <a:p>
            <a:endParaRPr lang="en-US" dirty="0"/>
          </a:p>
          <a:p>
            <a:endParaRPr lang="en-US" dirty="0"/>
          </a:p>
          <a:p>
            <a:r>
              <a:rPr lang="en-US" dirty="0"/>
              <a:t>-As the item size scales, the RUs consumed required to read and write an object does not scale 1:1. As you can see, the item sized has increased 4 times, but the RUs required to read only increased from 1 to 1.3.</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s the item size scales, the RUs consumed does not scale 1:1 with it. As you can see, the item sized has increased 64 times, but the RUs required to read only increased from 1 to 10. The costs to read and write increases with file size but does not grow directly. </a:t>
            </a:r>
          </a:p>
          <a:p>
            <a:endParaRPr lang="en-US" dirty="0"/>
          </a:p>
          <a:p>
            <a:endParaRPr lang="en-US" dirty="0"/>
          </a:p>
          <a:p>
            <a:r>
              <a:rPr lang="en-US" dirty="0"/>
              <a:t>Note that Request Units does not scale directly with Item size. Counter intuitively, efficiency increases as item size increases as the amount of overhead required to perform tasks is reduced relative to the size of the item.</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1651479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cosmos-db/find-request-unit-charge</a:t>
            </a:r>
            <a:endParaRPr lang="en-US" dirty="0"/>
          </a:p>
          <a:p>
            <a:endParaRPr lang="en-US" dirty="0"/>
          </a:p>
          <a:p>
            <a:endParaRPr lang="en-US" dirty="0"/>
          </a:p>
          <a:p>
            <a:r>
              <a:rPr lang="en-US" dirty="0"/>
              <a:t>-Azure portal-</a:t>
            </a:r>
            <a:r>
              <a:rPr lang="en-US" dirty="0" err="1"/>
              <a:t>DataExplorer</a:t>
            </a:r>
            <a:r>
              <a:rPr lang="en-US" dirty="0"/>
              <a:t>: viewing query stats per execution requests</a:t>
            </a:r>
          </a:p>
          <a:p>
            <a:r>
              <a:rPr lang="en-US" dirty="0"/>
              <a:t>-Use several SDKs from link above. </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3413724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Reserved Capacity: </a:t>
            </a:r>
          </a:p>
          <a:p>
            <a:endParaRPr lang="en-US" dirty="0"/>
          </a:p>
          <a:p>
            <a:r>
              <a:rPr lang="en-US" dirty="0">
                <a:hlinkClick r:id="rId3"/>
              </a:rPr>
              <a:t>https://docs.microsoft.com/en-us/azure/cosmos-db/cosmos-db-reserved-capacity</a:t>
            </a:r>
            <a:endParaRPr lang="en-US" dirty="0"/>
          </a:p>
          <a:p>
            <a:endParaRPr lang="en-US" dirty="0"/>
          </a:p>
          <a:p>
            <a:r>
              <a:rPr lang="en-US" sz="800" b="0" i="0" kern="1200" dirty="0">
                <a:solidFill>
                  <a:schemeClr val="tx1"/>
                </a:solidFill>
                <a:effectLst/>
                <a:latin typeface="Segoe UI Light" pitchFamily="34" charset="0"/>
                <a:ea typeface="+mn-ea"/>
                <a:cs typeface="+mn-cs"/>
              </a:rPr>
              <a:t>You can buy Azure Cosmos DB reserved capacity from the </a:t>
            </a:r>
            <a:r>
              <a:rPr lang="en-US" sz="800" b="0" i="0" u="sng" kern="1200" dirty="0">
                <a:solidFill>
                  <a:schemeClr val="tx1"/>
                </a:solidFill>
                <a:effectLst/>
                <a:latin typeface="Segoe UI Light" pitchFamily="34" charset="0"/>
                <a:ea typeface="+mn-ea"/>
                <a:cs typeface="+mn-cs"/>
                <a:hlinkClick r:id="rId4"/>
              </a:rPr>
              <a:t>Azure portal</a:t>
            </a:r>
            <a:r>
              <a:rPr lang="en-US" sz="800" b="0" i="0" kern="1200" dirty="0">
                <a:solidFill>
                  <a:schemeClr val="tx1"/>
                </a:solidFill>
                <a:effectLst/>
                <a:latin typeface="Segoe UI Light" pitchFamily="34" charset="0"/>
                <a:ea typeface="+mn-ea"/>
                <a:cs typeface="+mn-cs"/>
              </a:rPr>
              <a:t>. Pay for the reservation </a:t>
            </a:r>
            <a:r>
              <a:rPr lang="en-US" sz="800" b="0" i="0" u="sng" kern="1200" dirty="0">
                <a:solidFill>
                  <a:schemeClr val="tx1"/>
                </a:solidFill>
                <a:effectLst/>
                <a:latin typeface="Segoe UI Light" pitchFamily="34" charset="0"/>
                <a:ea typeface="+mn-ea"/>
                <a:cs typeface="+mn-cs"/>
                <a:hlinkClick r:id="rId5"/>
              </a:rPr>
              <a:t>up front or with monthly payments</a:t>
            </a:r>
            <a:r>
              <a:rPr lang="en-US" sz="800" b="0" i="0" kern="1200" dirty="0">
                <a:solidFill>
                  <a:schemeClr val="tx1"/>
                </a:solidFill>
                <a:effectLst/>
                <a:latin typeface="Segoe UI Light" pitchFamily="34" charset="0"/>
                <a:ea typeface="+mn-ea"/>
                <a:cs typeface="+mn-cs"/>
              </a:rPr>
              <a:t>. To buy reserved capacity:</a:t>
            </a:r>
          </a:p>
          <a:p>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You must be in the Owner role for at least one Enterprise or individual subscription with pay-as-you-go rates.</a:t>
            </a:r>
          </a:p>
          <a:p>
            <a:r>
              <a:rPr lang="en-US" sz="800" b="0" i="0" kern="1200" dirty="0">
                <a:solidFill>
                  <a:schemeClr val="tx1"/>
                </a:solidFill>
                <a:effectLst/>
                <a:latin typeface="Segoe UI Light" pitchFamily="34" charset="0"/>
                <a:ea typeface="+mn-ea"/>
                <a:cs typeface="+mn-cs"/>
              </a:rPr>
              <a:t>-For Enterprise subscriptions, </a:t>
            </a:r>
            <a:r>
              <a:rPr lang="en-US" sz="800" b="1" i="0" kern="1200" dirty="0">
                <a:solidFill>
                  <a:schemeClr val="tx1"/>
                </a:solidFill>
                <a:effectLst/>
                <a:latin typeface="Segoe UI Light" pitchFamily="34" charset="0"/>
                <a:ea typeface="+mn-ea"/>
                <a:cs typeface="+mn-cs"/>
              </a:rPr>
              <a:t>Add Reserved Instances</a:t>
            </a:r>
            <a:r>
              <a:rPr lang="en-US" sz="800" b="0" i="0" kern="1200" dirty="0">
                <a:solidFill>
                  <a:schemeClr val="tx1"/>
                </a:solidFill>
                <a:effectLst/>
                <a:latin typeface="Segoe UI Light" pitchFamily="34" charset="0"/>
                <a:ea typeface="+mn-ea"/>
                <a:cs typeface="+mn-cs"/>
              </a:rPr>
              <a:t> must be enabled in the </a:t>
            </a:r>
            <a:r>
              <a:rPr lang="en-US" sz="800" b="0" i="0" u="none" strike="noStrike" kern="1200" dirty="0">
                <a:solidFill>
                  <a:schemeClr val="tx1"/>
                </a:solidFill>
                <a:effectLst/>
                <a:latin typeface="Segoe UI Light" pitchFamily="34" charset="0"/>
                <a:ea typeface="+mn-ea"/>
                <a:cs typeface="+mn-cs"/>
                <a:hlinkClick r:id="rId6"/>
              </a:rPr>
              <a:t>EA portal</a:t>
            </a:r>
            <a:r>
              <a:rPr lang="en-US" sz="800" b="0" i="0" kern="1200" dirty="0">
                <a:solidFill>
                  <a:schemeClr val="tx1"/>
                </a:solidFill>
                <a:effectLst/>
                <a:latin typeface="Segoe UI Light" pitchFamily="34" charset="0"/>
                <a:ea typeface="+mn-ea"/>
                <a:cs typeface="+mn-cs"/>
              </a:rPr>
              <a:t>. Or, if that setting is disabled, you must be an EA Admin on the subscription.</a:t>
            </a:r>
          </a:p>
          <a:p>
            <a:r>
              <a:rPr lang="en-US" sz="800" b="0" i="0" kern="1200" dirty="0">
                <a:solidFill>
                  <a:schemeClr val="tx1"/>
                </a:solidFill>
                <a:effectLst/>
                <a:latin typeface="Segoe UI Light" pitchFamily="34" charset="0"/>
                <a:ea typeface="+mn-ea"/>
                <a:cs typeface="+mn-cs"/>
              </a:rPr>
              <a:t>-For the Cloud Solution Provider (CSP) program, only admin agents or sales agents can buy Azure Cosmos DB reserved capacity.</a:t>
            </a:r>
          </a:p>
          <a:p>
            <a:br>
              <a:rPr lang="en-US" dirty="0"/>
            </a:b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33511203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cosmos-db/how-pricing-works</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834964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documentdb.com/capacityplanner</a:t>
            </a:r>
          </a:p>
          <a:p>
            <a:endParaRPr lang="en-US" dirty="0"/>
          </a:p>
          <a:p>
            <a:endParaRPr lang="en-US" dirty="0"/>
          </a:p>
          <a:p>
            <a:r>
              <a:rPr lang="en-US" dirty="0"/>
              <a:t>https://docs.microsoft.com/en-us/azure/cosmos-db/request-units#estimating-throughput-need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20853856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1.xml"/><Relationship Id="rId4" Type="http://schemas.openxmlformats.org/officeDocument/2006/relationships/hyperlink" Target="https://cosmos.azure.com/capacitycalculator/" TargetMode="Externa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0.xml"/><Relationship Id="rId1" Type="http://schemas.openxmlformats.org/officeDocument/2006/relationships/tags" Target="../tags/tag7.xml"/><Relationship Id="rId4" Type="http://schemas.openxmlformats.org/officeDocument/2006/relationships/image" Target="../media/image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9.jfif"/><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customXml" Target="../../customXml/item5.xml"/><Relationship Id="rId7" Type="http://schemas.openxmlformats.org/officeDocument/2006/relationships/image" Target="../media/image4.png"/><Relationship Id="rId2" Type="http://schemas.openxmlformats.org/officeDocument/2006/relationships/customXml" Target="../../customXml/item12.xml"/><Relationship Id="rId1" Type="http://schemas.openxmlformats.org/officeDocument/2006/relationships/tags" Target="../tags/tag12.xml"/><Relationship Id="rId6" Type="http://schemas.openxmlformats.org/officeDocument/2006/relationships/notesSlide" Target="../notesSlides/notesSlide14.xml"/><Relationship Id="rId5" Type="http://schemas.openxmlformats.org/officeDocument/2006/relationships/slideLayout" Target="../slideLayouts/slideLayout9.xml"/><Relationship Id="rId4" Type="http://schemas.openxmlformats.org/officeDocument/2006/relationships/tags" Target="../tags/tag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xml"/><Relationship Id="rId1" Type="http://schemas.openxmlformats.org/officeDocument/2006/relationships/tags" Target="../tags/tag14.xml"/><Relationship Id="rId4" Type="http://schemas.openxmlformats.org/officeDocument/2006/relationships/image" Target="../media/image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8.png"/><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9.jfif"/><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4.png"/><Relationship Id="rId2" Type="http://schemas.openxmlformats.org/officeDocument/2006/relationships/customXml" Target="../../customXml/item11.xml"/><Relationship Id="rId1" Type="http://schemas.openxmlformats.org/officeDocument/2006/relationships/tags" Target="../tags/tag19.xml"/><Relationship Id="rId6" Type="http://schemas.openxmlformats.org/officeDocument/2006/relationships/notesSlide" Target="../notesSlides/notesSlide18.xml"/><Relationship Id="rId5" Type="http://schemas.openxmlformats.org/officeDocument/2006/relationships/slideLayout" Target="../slideLayouts/slideLayout9.xml"/><Relationship Id="rId4" Type="http://schemas.openxmlformats.org/officeDocument/2006/relationships/tags" Target="../tags/tag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0.xml"/><Relationship Id="rId1" Type="http://schemas.openxmlformats.org/officeDocument/2006/relationships/tags" Target="../tags/tag21.xml"/><Relationship Id="rId4" Type="http://schemas.openxmlformats.org/officeDocument/2006/relationships/image" Target="../media/image7.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8.png"/><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9.jfif"/><Relationship Id="rId4" Type="http://schemas.openxmlformats.org/officeDocument/2006/relationships/notesSlide" Target="../notesSlides/notesSlide21.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customXml" Target="../../customXml/item10.xml"/><Relationship Id="rId7" Type="http://schemas.openxmlformats.org/officeDocument/2006/relationships/image" Target="../media/image4.png"/><Relationship Id="rId2" Type="http://schemas.openxmlformats.org/officeDocument/2006/relationships/customXml" Target="../../customXml/item13.xml"/><Relationship Id="rId1" Type="http://schemas.openxmlformats.org/officeDocument/2006/relationships/tags" Target="../tags/tag26.xml"/><Relationship Id="rId6" Type="http://schemas.openxmlformats.org/officeDocument/2006/relationships/notesSlide" Target="../notesSlides/notesSlide22.xml"/><Relationship Id="rId5" Type="http://schemas.openxmlformats.org/officeDocument/2006/relationships/slideLayout" Target="../slideLayouts/slideLayout9.xml"/><Relationship Id="rId4" Type="http://schemas.openxmlformats.org/officeDocument/2006/relationships/tags" Target="../tags/tag2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0.xml"/><Relationship Id="rId1" Type="http://schemas.openxmlformats.org/officeDocument/2006/relationships/tags" Target="../tags/tag28.xml"/><Relationship Id="rId4" Type="http://schemas.openxmlformats.org/officeDocument/2006/relationships/image" Target="../media/image7.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8.png"/><Relationship Id="rId4" Type="http://schemas.openxmlformats.org/officeDocument/2006/relationships/notesSlide" Target="../notesSlides/notesSlide24.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9.jfif"/><Relationship Id="rId4" Type="http://schemas.openxmlformats.org/officeDocument/2006/relationships/notesSlide" Target="../notesSlides/notesSlide25.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4.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4.png"/><Relationship Id="rId2" Type="http://schemas.openxmlformats.org/officeDocument/2006/relationships/customXml" Target="../../customXml/item14.xml"/><Relationship Id="rId1" Type="http://schemas.openxmlformats.org/officeDocument/2006/relationships/tags" Target="../tags/tag33.xml"/><Relationship Id="rId6" Type="http://schemas.openxmlformats.org/officeDocument/2006/relationships/notesSlide" Target="../notesSlides/notesSlide26.xml"/><Relationship Id="rId5" Type="http://schemas.openxmlformats.org/officeDocument/2006/relationships/slideLayout" Target="../slideLayouts/slideLayout9.xml"/><Relationship Id="rId4" Type="http://schemas.openxmlformats.org/officeDocument/2006/relationships/tags" Target="../tags/tag34.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4.png"/><Relationship Id="rId2" Type="http://schemas.openxmlformats.org/officeDocument/2006/relationships/customXml" Target="../../customXml/item17.xml"/><Relationship Id="rId1" Type="http://schemas.openxmlformats.org/officeDocument/2006/relationships/tags" Target="../tags/tag5.xml"/><Relationship Id="rId6" Type="http://schemas.openxmlformats.org/officeDocument/2006/relationships/notesSlide" Target="../notesSlides/notesSlide1.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0.xml"/><Relationship Id="rId1" Type="http://schemas.openxmlformats.org/officeDocument/2006/relationships/tags" Target="../tags/tag35.xml"/><Relationship Id="rId4" Type="http://schemas.openxmlformats.org/officeDocument/2006/relationships/image" Target="../media/image7.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8.png"/><Relationship Id="rId4" Type="http://schemas.openxmlformats.org/officeDocument/2006/relationships/notesSlide" Target="../notesSlides/notesSlide37.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8.xml"/><Relationship Id="rId1" Type="http://schemas.openxmlformats.org/officeDocument/2006/relationships/slideLayout" Target="../slideLayouts/slideLayout1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9.jfif"/><Relationship Id="rId4" Type="http://schemas.openxmlformats.org/officeDocument/2006/relationships/notesSlide" Target="../notesSlides/notesSlide3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4.png"/><Relationship Id="rId2" Type="http://schemas.openxmlformats.org/officeDocument/2006/relationships/customXml" Target="../../customXml/item9.xml"/><Relationship Id="rId1" Type="http://schemas.openxmlformats.org/officeDocument/2006/relationships/tags" Target="../tags/tag40.xml"/><Relationship Id="rId6" Type="http://schemas.openxmlformats.org/officeDocument/2006/relationships/notesSlide" Target="../notesSlides/notesSlide40.xml"/><Relationship Id="rId5" Type="http://schemas.openxmlformats.org/officeDocument/2006/relationships/slideLayout" Target="../slideLayouts/slideLayout9.xml"/><Relationship Id="rId4" Type="http://schemas.openxmlformats.org/officeDocument/2006/relationships/tags" Target="../tags/tag4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0.xml"/><Relationship Id="rId1" Type="http://schemas.openxmlformats.org/officeDocument/2006/relationships/tags" Target="../tags/tag42.xml"/><Relationship Id="rId4" Type="http://schemas.openxmlformats.org/officeDocument/2006/relationships/image" Target="../media/image7.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8.png"/><Relationship Id="rId4" Type="http://schemas.openxmlformats.org/officeDocument/2006/relationships/notesSlide" Target="../notesSlides/notesSlide4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9.jfif"/><Relationship Id="rId4" Type="http://schemas.openxmlformats.org/officeDocument/2006/relationships/notesSlide" Target="../notesSlides/notesSlide43.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4.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3" Type="http://schemas.openxmlformats.org/officeDocument/2006/relationships/customXml" Target="../../customXml/item2.xml"/><Relationship Id="rId7" Type="http://schemas.openxmlformats.org/officeDocument/2006/relationships/image" Target="../media/image4.png"/><Relationship Id="rId2" Type="http://schemas.openxmlformats.org/officeDocument/2006/relationships/customXml" Target="../../customXml/item4.xml"/><Relationship Id="rId1" Type="http://schemas.openxmlformats.org/officeDocument/2006/relationships/tags" Target="../tags/tag47.xml"/><Relationship Id="rId6" Type="http://schemas.openxmlformats.org/officeDocument/2006/relationships/notesSlide" Target="../notesSlides/notesSlide44.xml"/><Relationship Id="rId5" Type="http://schemas.openxmlformats.org/officeDocument/2006/relationships/slideLayout" Target="../slideLayouts/slideLayout9.xml"/><Relationship Id="rId4" Type="http://schemas.openxmlformats.org/officeDocument/2006/relationships/tags" Target="../tags/tag4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0.xml"/><Relationship Id="rId1" Type="http://schemas.openxmlformats.org/officeDocument/2006/relationships/tags" Target="../tags/tag49.xml"/><Relationship Id="rId4" Type="http://schemas.openxmlformats.org/officeDocument/2006/relationships/image" Target="../media/image7.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8.png"/><Relationship Id="rId4" Type="http://schemas.openxmlformats.org/officeDocument/2006/relationships/notesSlide" Target="../notesSlides/notesSlide46.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9.jfif"/><Relationship Id="rId4" Type="http://schemas.openxmlformats.org/officeDocument/2006/relationships/notesSlide" Target="../notesSlides/notesSlide47.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Azure Cosmos DB Administration</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2</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78F278-70E6-4012-B3A4-CAB62CF3636B}"/>
              </a:ext>
            </a:extLst>
          </p:cNvPr>
          <p:cNvSpPr>
            <a:spLocks noGrp="1"/>
          </p:cNvSpPr>
          <p:nvPr>
            <p:ph type="title"/>
          </p:nvPr>
        </p:nvSpPr>
        <p:spPr/>
        <p:txBody>
          <a:bodyPr/>
          <a:lstStyle/>
          <a:p>
            <a:r>
              <a:rPr lang="en-US" dirty="0"/>
              <a:t>Monitor RU Consumption</a:t>
            </a:r>
          </a:p>
        </p:txBody>
      </p:sp>
      <p:sp>
        <p:nvSpPr>
          <p:cNvPr id="4" name="Content Placeholder 3">
            <a:extLst>
              <a:ext uri="{FF2B5EF4-FFF2-40B4-BE49-F238E27FC236}">
                <a16:creationId xmlns:a16="http://schemas.microsoft.com/office/drawing/2014/main" id="{3F8C94E2-14CE-4DF7-8D9B-A6DFDC410644}"/>
              </a:ext>
            </a:extLst>
          </p:cNvPr>
          <p:cNvSpPr>
            <a:spLocks noGrp="1"/>
          </p:cNvSpPr>
          <p:nvPr>
            <p:ph sz="quarter" idx="13"/>
          </p:nvPr>
        </p:nvSpPr>
        <p:spPr bwMode="auto">
          <a:xfrm>
            <a:off x="838200" y="2443018"/>
            <a:ext cx="2199488" cy="25861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lvl="0" algn="ctr">
              <a:defRPr/>
            </a:pPr>
            <a:r>
              <a:rPr lang="en-US" sz="2000" dirty="0">
                <a:solidFill>
                  <a:srgbClr val="FFFFFF"/>
                </a:solidFill>
                <a:latin typeface="Segoe UI Light" panose="020B0502040204020203" pitchFamily="34" charset="0"/>
                <a:cs typeface="Segoe UI Light" panose="020B0502040204020203" pitchFamily="34" charset="0"/>
              </a:rPr>
              <a:t>Azure Portal</a:t>
            </a:r>
          </a:p>
        </p:txBody>
      </p:sp>
      <p:sp>
        <p:nvSpPr>
          <p:cNvPr id="5" name="Rectangle 4">
            <a:extLst>
              <a:ext uri="{FF2B5EF4-FFF2-40B4-BE49-F238E27FC236}">
                <a16:creationId xmlns:a16="http://schemas.microsoft.com/office/drawing/2014/main" id="{AD59E0C1-266C-4076-AF4A-9163CD31B2C9}"/>
              </a:ext>
            </a:extLst>
          </p:cNvPr>
          <p:cNvSpPr/>
          <p:nvPr/>
        </p:nvSpPr>
        <p:spPr bwMode="auto">
          <a:xfrm>
            <a:off x="3449234" y="2438400"/>
            <a:ext cx="2355710" cy="258618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lvl="0" algn="ctr">
              <a:defRPr/>
            </a:pPr>
            <a:r>
              <a:rPr lang="en-US" dirty="0">
                <a:solidFill>
                  <a:srgbClr val="FFFFFF"/>
                </a:solidFill>
                <a:latin typeface="Segoe UI Light" panose="020B0502040204020203" pitchFamily="34" charset="0"/>
                <a:cs typeface="Segoe UI Light" panose="020B0502040204020203" pitchFamily="34" charset="0"/>
              </a:rPr>
              <a:t>Inspecting the response sent back from Azure Cosmos DB through one of the SDKs</a:t>
            </a:r>
          </a:p>
        </p:txBody>
      </p:sp>
      <p:sp>
        <p:nvSpPr>
          <p:cNvPr id="6" name="Rectangle 5">
            <a:extLst>
              <a:ext uri="{FF2B5EF4-FFF2-40B4-BE49-F238E27FC236}">
                <a16:creationId xmlns:a16="http://schemas.microsoft.com/office/drawing/2014/main" id="{8B421761-2D24-422F-B03E-98A63F9AFF58}"/>
              </a:ext>
            </a:extLst>
          </p:cNvPr>
          <p:cNvSpPr/>
          <p:nvPr/>
        </p:nvSpPr>
        <p:spPr bwMode="auto">
          <a:xfrm>
            <a:off x="6324600" y="2438399"/>
            <a:ext cx="2355710" cy="25861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lvl="0" algn="ctr">
              <a:defRPr/>
            </a:pPr>
            <a:r>
              <a:rPr lang="en-US" dirty="0">
                <a:solidFill>
                  <a:srgbClr val="FFFFFF"/>
                </a:solidFill>
                <a:latin typeface="Segoe UI Light" panose="020B0502040204020203" pitchFamily="34" charset="0"/>
                <a:cs typeface="Segoe UI Light" panose="020B0502040204020203" pitchFamily="34" charset="0"/>
              </a:rPr>
              <a:t>Every response from Cosmos DB includes the RUs consumed during the operation</a:t>
            </a:r>
          </a:p>
        </p:txBody>
      </p:sp>
      <p:sp>
        <p:nvSpPr>
          <p:cNvPr id="7" name="Rectangle 6">
            <a:extLst>
              <a:ext uri="{FF2B5EF4-FFF2-40B4-BE49-F238E27FC236}">
                <a16:creationId xmlns:a16="http://schemas.microsoft.com/office/drawing/2014/main" id="{79B5F342-1A2A-4B53-B580-9DBB4D44E9D6}"/>
              </a:ext>
            </a:extLst>
          </p:cNvPr>
          <p:cNvSpPr/>
          <p:nvPr/>
        </p:nvSpPr>
        <p:spPr bwMode="auto">
          <a:xfrm>
            <a:off x="9104636" y="2438399"/>
            <a:ext cx="2355710" cy="258618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lvl="0" algn="ctr">
              <a:defRPr/>
            </a:pPr>
            <a:r>
              <a:rPr lang="en-US" dirty="0">
                <a:solidFill>
                  <a:srgbClr val="FFFFFF"/>
                </a:solidFill>
                <a:latin typeface="Segoe UI Light" panose="020B0502040204020203" pitchFamily="34" charset="0"/>
                <a:cs typeface="Segoe UI Light" panose="020B0502040204020203" pitchFamily="34" charset="0"/>
              </a:rPr>
              <a:t>x-</a:t>
            </a:r>
            <a:r>
              <a:rPr lang="en-US" dirty="0" err="1">
                <a:solidFill>
                  <a:srgbClr val="FFFFFF"/>
                </a:solidFill>
                <a:latin typeface="Segoe UI Light" panose="020B0502040204020203" pitchFamily="34" charset="0"/>
                <a:cs typeface="Segoe UI Light" panose="020B0502040204020203" pitchFamily="34" charset="0"/>
              </a:rPr>
              <a:t>ms</a:t>
            </a:r>
            <a:r>
              <a:rPr lang="en-US" dirty="0">
                <a:solidFill>
                  <a:srgbClr val="FFFFFF"/>
                </a:solidFill>
                <a:latin typeface="Segoe UI Light" panose="020B0502040204020203" pitchFamily="34" charset="0"/>
                <a:cs typeface="Segoe UI Light" panose="020B0502040204020203" pitchFamily="34" charset="0"/>
              </a:rPr>
              <a:t>-request-charge” HTTP response header returns exactly how many RUs were consumed</a:t>
            </a:r>
            <a:endParaRPr lang="en-US" sz="2400" dirty="0">
              <a:solidFill>
                <a:srgbClr val="FFFFFF"/>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51359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E2DA2-7CEE-4C9D-A12C-1FA3D239C98E}"/>
              </a:ext>
            </a:extLst>
          </p:cNvPr>
          <p:cNvSpPr>
            <a:spLocks noGrp="1"/>
          </p:cNvSpPr>
          <p:nvPr>
            <p:ph type="title"/>
          </p:nvPr>
        </p:nvSpPr>
        <p:spPr>
          <a:xfrm>
            <a:off x="655638" y="320040"/>
            <a:ext cx="10880725" cy="461665"/>
          </a:xfrm>
          <a:prstGeom prst="rect">
            <a:avLst/>
          </a:prstGeom>
          <a:solidFill>
            <a:schemeClr val="bg1"/>
          </a:solidFill>
          <a:ln>
            <a:noFill/>
          </a:ln>
        </p:spPr>
        <p:txBody>
          <a:bodyPr vert="horz" wrap="square" lIns="0" tIns="0" rIns="0" bIns="0" rtlCol="0" anchor="t">
            <a:normAutofit/>
          </a:bodyPr>
          <a:lstStyle/>
          <a:p>
            <a:r>
              <a:rPr lang="en-US" b="0" kern="1200" cap="none" spc="-50" baseline="0">
                <a:ln w="3175">
                  <a:noFill/>
                </a:ln>
                <a:effectLst/>
                <a:latin typeface="+mj-lt"/>
                <a:ea typeface="+mn-ea"/>
                <a:cs typeface="Segoe UI" pitchFamily="34" charset="0"/>
              </a:rPr>
              <a:t>Reserved Capacity</a:t>
            </a:r>
          </a:p>
        </p:txBody>
      </p:sp>
      <p:graphicFrame>
        <p:nvGraphicFramePr>
          <p:cNvPr id="8" name="TextBox 2">
            <a:extLst>
              <a:ext uri="{FF2B5EF4-FFF2-40B4-BE49-F238E27FC236}">
                <a16:creationId xmlns:a16="http://schemas.microsoft.com/office/drawing/2014/main" id="{82E0B6ED-283E-47DF-A1DB-EABFD982FA92}"/>
              </a:ext>
            </a:extLst>
          </p:cNvPr>
          <p:cNvGraphicFramePr/>
          <p:nvPr>
            <p:extLst>
              <p:ext uri="{D42A27DB-BD31-4B8C-83A1-F6EECF244321}">
                <p14:modId xmlns:p14="http://schemas.microsoft.com/office/powerpoint/2010/main" val="250334247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54911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3F393-F3C6-4B94-B08D-A4EE3190C23D}"/>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Pricing Model	</a:t>
            </a:r>
          </a:p>
        </p:txBody>
      </p:sp>
      <p:graphicFrame>
        <p:nvGraphicFramePr>
          <p:cNvPr id="5" name="Content Placeholder 2">
            <a:extLst>
              <a:ext uri="{FF2B5EF4-FFF2-40B4-BE49-F238E27FC236}">
                <a16:creationId xmlns:a16="http://schemas.microsoft.com/office/drawing/2014/main" id="{C40E34C1-5529-4FB5-998F-F23F117ACC7A}"/>
              </a:ext>
            </a:extLst>
          </p:cNvPr>
          <p:cNvGraphicFramePr>
            <a:graphicFrameLocks noGrp="1"/>
          </p:cNvGraphicFramePr>
          <p:nvPr>
            <p:ph sz="quarter" idx="13"/>
            <p:extLst>
              <p:ext uri="{D42A27DB-BD31-4B8C-83A1-F6EECF244321}">
                <p14:modId xmlns:p14="http://schemas.microsoft.com/office/powerpoint/2010/main" val="232791766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08510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9A424-3522-4F09-9426-2FE1E9B71D3C}"/>
              </a:ext>
            </a:extLst>
          </p:cNvPr>
          <p:cNvSpPr>
            <a:spLocks noGrp="1"/>
          </p:cNvSpPr>
          <p:nvPr>
            <p:ph type="title"/>
          </p:nvPr>
        </p:nvSpPr>
        <p:spPr>
          <a:xfrm>
            <a:off x="655637" y="320040"/>
            <a:ext cx="4352926" cy="461665"/>
          </a:xfrm>
          <a:prstGeom prst="rect">
            <a:avLst/>
          </a:prstGeom>
          <a:ln>
            <a:noFill/>
          </a:ln>
        </p:spPr>
        <p:txBody>
          <a:bodyPr wrap="square" anchor="t">
            <a:normAutofit/>
          </a:bodyPr>
          <a:lstStyle/>
          <a:p>
            <a:r>
              <a:rPr lang="en-US" dirty="0"/>
              <a:t>Capacity Calculator	</a:t>
            </a:r>
          </a:p>
        </p:txBody>
      </p:sp>
      <p:sp>
        <p:nvSpPr>
          <p:cNvPr id="3" name="Content Placeholder 2">
            <a:extLst>
              <a:ext uri="{FF2B5EF4-FFF2-40B4-BE49-F238E27FC236}">
                <a16:creationId xmlns:a16="http://schemas.microsoft.com/office/drawing/2014/main" id="{2986C4CF-8B0B-47C3-86F6-84DAE0C6F26B}"/>
              </a:ext>
            </a:extLst>
          </p:cNvPr>
          <p:cNvSpPr>
            <a:spLocks noGrp="1"/>
          </p:cNvSpPr>
          <p:nvPr>
            <p:ph type="body" sz="quarter" idx="16"/>
          </p:nvPr>
        </p:nvSpPr>
        <p:spPr>
          <a:xfrm>
            <a:off x="655320" y="1408113"/>
            <a:ext cx="4831080" cy="4819650"/>
          </a:xfrm>
          <a:prstGeom prst="rect">
            <a:avLst/>
          </a:prstGeom>
        </p:spPr>
        <p:txBody>
          <a:bodyPr>
            <a:normAutofit/>
          </a:bodyPr>
          <a:lstStyle/>
          <a:p>
            <a:pPr marL="342900" indent="-342900">
              <a:buFont typeface="Arial" panose="020B0604020202020204" pitchFamily="34" charset="0"/>
              <a:buChar char="•"/>
            </a:pPr>
            <a:r>
              <a:rPr lang="en-US" dirty="0"/>
              <a:t>Cosmos DB capacity planner calculator</a:t>
            </a:r>
          </a:p>
          <a:p>
            <a:endParaRPr lang="en-US" dirty="0"/>
          </a:p>
          <a:p>
            <a:endParaRPr lang="en-US" dirty="0"/>
          </a:p>
        </p:txBody>
      </p:sp>
      <p:pic>
        <p:nvPicPr>
          <p:cNvPr id="4" name="Picture 3">
            <a:extLst>
              <a:ext uri="{FF2B5EF4-FFF2-40B4-BE49-F238E27FC236}">
                <a16:creationId xmlns:a16="http://schemas.microsoft.com/office/drawing/2014/main" id="{62DC76E4-B046-46F0-B98E-4CDF6E30407A}"/>
              </a:ext>
            </a:extLst>
          </p:cNvPr>
          <p:cNvPicPr>
            <a:picLocks noChangeAspect="1"/>
          </p:cNvPicPr>
          <p:nvPr/>
        </p:nvPicPr>
        <p:blipFill>
          <a:blip r:embed="rId3"/>
          <a:stretch>
            <a:fillRect/>
          </a:stretch>
        </p:blipFill>
        <p:spPr>
          <a:xfrm>
            <a:off x="5181600" y="1529875"/>
            <a:ext cx="6858000" cy="3377564"/>
          </a:xfrm>
          <a:prstGeom prst="rect">
            <a:avLst/>
          </a:prstGeom>
          <a:noFill/>
        </p:spPr>
      </p:pic>
      <p:sp>
        <p:nvSpPr>
          <p:cNvPr id="5" name="Rectangle 4">
            <a:extLst>
              <a:ext uri="{FF2B5EF4-FFF2-40B4-BE49-F238E27FC236}">
                <a16:creationId xmlns:a16="http://schemas.microsoft.com/office/drawing/2014/main" id="{7129DFE2-15C7-46D5-A070-3578D5D96362}"/>
              </a:ext>
            </a:extLst>
          </p:cNvPr>
          <p:cNvSpPr/>
          <p:nvPr/>
        </p:nvSpPr>
        <p:spPr>
          <a:xfrm>
            <a:off x="5486400" y="4944654"/>
            <a:ext cx="4784323" cy="369332"/>
          </a:xfrm>
          <a:prstGeom prst="rect">
            <a:avLst/>
          </a:prstGeom>
        </p:spPr>
        <p:txBody>
          <a:bodyPr wrap="none">
            <a:spAutoFit/>
          </a:bodyPr>
          <a:lstStyle/>
          <a:p>
            <a:r>
              <a:rPr lang="en-US" dirty="0">
                <a:hlinkClick r:id="rId4"/>
              </a:rPr>
              <a:t>https://cosmos.azure.com/capacitycalculator/</a:t>
            </a:r>
            <a:endParaRPr lang="en-US" dirty="0"/>
          </a:p>
        </p:txBody>
      </p:sp>
    </p:spTree>
    <p:extLst>
      <p:ext uri="{BB962C8B-B14F-4D97-AF65-F5344CB8AC3E}">
        <p14:creationId xmlns:p14="http://schemas.microsoft.com/office/powerpoint/2010/main" val="875653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View RU Values through Azure Portal-Data Explorer</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View Request Charge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Open view request charges header in Visual Studio</a:t>
            </a:r>
          </a:p>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861621179"/>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97310441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Autopilot</a:t>
            </a:r>
          </a:p>
        </p:txBody>
      </p:sp>
    </p:spTree>
    <p:extLst>
      <p:ext uri="{BB962C8B-B14F-4D97-AF65-F5344CB8AC3E}">
        <p14:creationId xmlns:p14="http://schemas.microsoft.com/office/powerpoint/2010/main" val="2894004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how Azure Cosmos DB will automatically manage and scale the RU/s of your containers based on the usag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06CDB-3F60-426B-8C60-2F70FBDC968B}"/>
              </a:ext>
            </a:extLst>
          </p:cNvPr>
          <p:cNvSpPr>
            <a:spLocks noGrp="1"/>
          </p:cNvSpPr>
          <p:nvPr>
            <p:ph type="title"/>
          </p:nvPr>
        </p:nvSpPr>
        <p:spPr/>
        <p:txBody>
          <a:bodyPr/>
          <a:lstStyle/>
          <a:p>
            <a:endParaRPr lang="en-GB"/>
          </a:p>
        </p:txBody>
      </p:sp>
      <p:sp>
        <p:nvSpPr>
          <p:cNvPr id="3" name="Subtitle 2">
            <a:extLst>
              <a:ext uri="{FF2B5EF4-FFF2-40B4-BE49-F238E27FC236}">
                <a16:creationId xmlns:a16="http://schemas.microsoft.com/office/drawing/2014/main" id="{677BD5EF-98CA-49E2-923A-FBB894F558DF}"/>
              </a:ext>
            </a:extLst>
          </p:cNvPr>
          <p:cNvSpPr>
            <a:spLocks noGrp="1"/>
          </p:cNvSpPr>
          <p:nvPr>
            <p:ph type="subTitle" idx="1"/>
          </p:nvPr>
        </p:nvSpPr>
        <p:spPr/>
        <p:txBody>
          <a:bodyPr/>
          <a:lstStyle/>
          <a:p>
            <a:endParaRPr lang="en-GB"/>
          </a:p>
        </p:txBody>
      </p:sp>
      <p:sp>
        <p:nvSpPr>
          <p:cNvPr id="4" name="Content Placeholder 3">
            <a:extLst>
              <a:ext uri="{FF2B5EF4-FFF2-40B4-BE49-F238E27FC236}">
                <a16:creationId xmlns:a16="http://schemas.microsoft.com/office/drawing/2014/main" id="{C0A99278-B19B-410D-95E7-F9EEE6A56E4E}"/>
              </a:ext>
            </a:extLst>
          </p:cNvPr>
          <p:cNvSpPr>
            <a:spLocks noGrp="1"/>
          </p:cNvSpPr>
          <p:nvPr>
            <p:ph sz="quarter" idx="13"/>
          </p:nvPr>
        </p:nvSpPr>
        <p:spPr/>
        <p:txBody>
          <a:bodyPr/>
          <a:lstStyle/>
          <a:p>
            <a:endParaRPr lang="en-GB"/>
          </a:p>
        </p:txBody>
      </p:sp>
    </p:spTree>
    <p:extLst>
      <p:ext uri="{BB962C8B-B14F-4D97-AF65-F5344CB8AC3E}">
        <p14:creationId xmlns:p14="http://schemas.microsoft.com/office/powerpoint/2010/main" val="1351198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46840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Partitioning</a:t>
            </a:r>
          </a:p>
        </p:txBody>
      </p:sp>
    </p:spTree>
    <p:extLst>
      <p:ext uri="{BB962C8B-B14F-4D97-AF65-F5344CB8AC3E}">
        <p14:creationId xmlns:p14="http://schemas.microsoft.com/office/powerpoint/2010/main" val="57495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partitioning in Cosmos DB</a:t>
            </a:r>
          </a:p>
          <a:p>
            <a:r>
              <a:rPr lang="en-US" dirty="0"/>
              <a:t>Practice on choosing and changing partitioning key</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endParaRPr lang="en-US"/>
          </a:p>
        </p:txBody>
      </p:sp>
    </p:spTree>
    <p:extLst>
      <p:ext uri="{BB962C8B-B14F-4D97-AF65-F5344CB8AC3E}">
        <p14:creationId xmlns:p14="http://schemas.microsoft.com/office/powerpoint/2010/main" val="42488382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726237" cy="5597525"/>
          </a:xfrm>
        </p:spPr>
        <p:txBody>
          <a:bodyPr/>
          <a:lstStyle/>
          <a:p>
            <a:r>
              <a:rPr lang="en-US" dirty="0"/>
              <a:t>Lesson 1: Throughput</a:t>
            </a:r>
          </a:p>
          <a:p>
            <a:r>
              <a:rPr lang="en-US" dirty="0"/>
              <a:t>Lesson 2: Autopilot</a:t>
            </a:r>
          </a:p>
          <a:p>
            <a:r>
              <a:rPr lang="en-US" dirty="0"/>
              <a:t>Lesson 3: Partitioning</a:t>
            </a:r>
          </a:p>
          <a:p>
            <a:r>
              <a:rPr lang="en-US" dirty="0"/>
              <a:t>Lesson 4: Global Distribution and Consistency</a:t>
            </a:r>
          </a:p>
          <a:p>
            <a:r>
              <a:rPr lang="en-US" dirty="0"/>
              <a:t>Lesson 5: Indexing</a:t>
            </a:r>
          </a:p>
          <a:p>
            <a:r>
              <a:rPr lang="en-US" dirty="0"/>
              <a:t>Lesson 6: Security and Compliance</a:t>
            </a:r>
          </a:p>
          <a:p>
            <a:r>
              <a:rPr lang="en-US" dirty="0"/>
              <a:t>Lesson 7: Migration</a:t>
            </a:r>
          </a:p>
          <a:p>
            <a:pPr marL="0" indent="0">
              <a:buNone/>
            </a:pPr>
            <a:endParaRPr lang="en-US" dirty="0"/>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06133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9631362" cy="604798"/>
          </a:xfrm>
        </p:spPr>
        <p:txBody>
          <a:bodyPr/>
          <a:lstStyle/>
          <a:p>
            <a:r>
              <a:rPr lang="en-US" dirty="0"/>
              <a:t>Lesson 4: Global Distribution and Consistency</a:t>
            </a:r>
          </a:p>
        </p:txBody>
      </p:sp>
    </p:spTree>
    <p:extLst>
      <p:ext uri="{BB962C8B-B14F-4D97-AF65-F5344CB8AC3E}">
        <p14:creationId xmlns:p14="http://schemas.microsoft.com/office/powerpoint/2010/main" val="26049013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data replication and disaster recovery</a:t>
            </a:r>
          </a:p>
          <a:p>
            <a:r>
              <a:rPr lang="en-US" dirty="0"/>
              <a:t>Understand how to enable turnkey global distribution and multi master</a:t>
            </a:r>
          </a:p>
          <a:p>
            <a:r>
              <a:rPr lang="en-US" dirty="0"/>
              <a:t>Learn different consistency option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403018791"/>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endParaRPr lang="en-US"/>
          </a:p>
        </p:txBody>
      </p:sp>
    </p:spTree>
    <p:extLst>
      <p:ext uri="{BB962C8B-B14F-4D97-AF65-F5344CB8AC3E}">
        <p14:creationId xmlns:p14="http://schemas.microsoft.com/office/powerpoint/2010/main" val="3819752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59196581"/>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046573154"/>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001108781"/>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928468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5: Indexing</a:t>
            </a:r>
          </a:p>
        </p:txBody>
      </p:sp>
    </p:spTree>
    <p:extLst>
      <p:ext uri="{BB962C8B-B14F-4D97-AF65-F5344CB8AC3E}">
        <p14:creationId xmlns:p14="http://schemas.microsoft.com/office/powerpoint/2010/main" val="4221138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1: Throughput</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indexing policy and modes</a:t>
            </a:r>
          </a:p>
          <a:p>
            <a:r>
              <a:rPr lang="en-US" dirty="0"/>
              <a:t>Learn how to modify the indexing policy</a:t>
            </a:r>
          </a:p>
          <a:p>
            <a:r>
              <a:rPr lang="en-US" dirty="0"/>
              <a:t>Learn composite indexes</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577140418"/>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Schema-agnostic, automatic indexing</a:t>
            </a:r>
          </a:p>
        </p:txBody>
      </p:sp>
      <p:graphicFrame>
        <p:nvGraphicFramePr>
          <p:cNvPr id="6" name="Content Placeholder 3">
            <a:extLst>
              <a:ext uri="{FF2B5EF4-FFF2-40B4-BE49-F238E27FC236}">
                <a16:creationId xmlns:a16="http://schemas.microsoft.com/office/drawing/2014/main" id="{C8E38B87-FEC6-469A-8EF4-760061BC838C}"/>
              </a:ext>
            </a:extLst>
          </p:cNvPr>
          <p:cNvGraphicFramePr>
            <a:graphicFrameLocks noGrp="1"/>
          </p:cNvGraphicFramePr>
          <p:nvPr>
            <p:ph sz="quarter" idx="13"/>
            <p:extLst>
              <p:ext uri="{D42A27DB-BD31-4B8C-83A1-F6EECF244321}">
                <p14:modId xmlns:p14="http://schemas.microsoft.com/office/powerpoint/2010/main" val="2207928712"/>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17008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9C1CC-4D4F-4009-A979-40B57E0F8447}"/>
              </a:ext>
            </a:extLst>
          </p:cNvPr>
          <p:cNvSpPr>
            <a:spLocks noGrp="1"/>
          </p:cNvSpPr>
          <p:nvPr>
            <p:ph type="title"/>
          </p:nvPr>
        </p:nvSpPr>
        <p:spPr>
          <a:xfrm>
            <a:off x="655638" y="320040"/>
            <a:ext cx="10880725" cy="461665"/>
          </a:xfrm>
          <a:prstGeom prst="rect">
            <a:avLst/>
          </a:prstGeom>
          <a:ln>
            <a:noFill/>
          </a:ln>
        </p:spPr>
        <p:txBody>
          <a:bodyPr wrap="square" anchor="t">
            <a:normAutofit/>
          </a:bodyPr>
          <a:lstStyle/>
          <a:p>
            <a:r>
              <a:rPr lang="en-US" dirty="0"/>
              <a:t>Indexing – Under the Hood</a:t>
            </a:r>
          </a:p>
        </p:txBody>
      </p:sp>
      <p:sp>
        <p:nvSpPr>
          <p:cNvPr id="3" name="Content Placeholder 2">
            <a:extLst>
              <a:ext uri="{FF2B5EF4-FFF2-40B4-BE49-F238E27FC236}">
                <a16:creationId xmlns:a16="http://schemas.microsoft.com/office/drawing/2014/main" id="{070AD25C-2C8C-48CA-83E4-5FF49FEBC5BA}"/>
              </a:ext>
            </a:extLst>
          </p:cNvPr>
          <p:cNvSpPr>
            <a:spLocks noGrp="1"/>
          </p:cNvSpPr>
          <p:nvPr>
            <p:ph type="body" sz="quarter" idx="16"/>
          </p:nvPr>
        </p:nvSpPr>
        <p:spPr>
          <a:xfrm>
            <a:off x="655320" y="5605462"/>
            <a:ext cx="5294504" cy="622109"/>
          </a:xfrm>
          <a:prstGeom prst="rect">
            <a:avLst/>
          </a:prstGeom>
        </p:spPr>
        <p:txBody>
          <a:bodyPr>
            <a:normAutofit/>
          </a:bodyPr>
          <a:lstStyle/>
          <a:p>
            <a:pPr>
              <a:lnSpc>
                <a:spcPct val="90000"/>
              </a:lnSpc>
              <a:spcAft>
                <a:spcPts val="600"/>
              </a:spcAft>
            </a:pPr>
            <a:r>
              <a:rPr lang="en-US" sz="1900" dirty="0"/>
              <a:t>JSON documents can be represented as hierarchical trees</a:t>
            </a:r>
          </a:p>
          <a:p>
            <a:pPr>
              <a:lnSpc>
                <a:spcPct val="90000"/>
              </a:lnSpc>
              <a:spcAft>
                <a:spcPts val="600"/>
              </a:spcAft>
            </a:pPr>
            <a:endParaRPr lang="en-US" sz="1900" dirty="0"/>
          </a:p>
          <a:p>
            <a:pPr>
              <a:lnSpc>
                <a:spcPct val="90000"/>
              </a:lnSpc>
              <a:spcAft>
                <a:spcPts val="600"/>
              </a:spcAft>
            </a:pPr>
            <a:endParaRPr lang="en-US" sz="1900" dirty="0"/>
          </a:p>
        </p:txBody>
      </p:sp>
      <p:sp>
        <p:nvSpPr>
          <p:cNvPr id="4" name="Content Placeholder 3">
            <a:extLst>
              <a:ext uri="{FF2B5EF4-FFF2-40B4-BE49-F238E27FC236}">
                <a16:creationId xmlns:a16="http://schemas.microsoft.com/office/drawing/2014/main" id="{A60B8870-2BA8-48E1-818D-7752517DD0FC}"/>
              </a:ext>
            </a:extLst>
          </p:cNvPr>
          <p:cNvSpPr>
            <a:spLocks noGrp="1"/>
          </p:cNvSpPr>
          <p:nvPr>
            <p:ph type="body" sz="quarter" idx="18"/>
          </p:nvPr>
        </p:nvSpPr>
        <p:spPr>
          <a:xfrm>
            <a:off x="6242175" y="5605463"/>
            <a:ext cx="5294505" cy="622300"/>
          </a:xfrm>
          <a:prstGeom prst="rect">
            <a:avLst/>
          </a:prstGeom>
        </p:spPr>
        <p:txBody>
          <a:bodyPr>
            <a:normAutofit/>
          </a:bodyPr>
          <a:lstStyle/>
          <a:p>
            <a:pPr>
              <a:lnSpc>
                <a:spcPct val="90000"/>
              </a:lnSpc>
              <a:spcAft>
                <a:spcPts val="600"/>
              </a:spcAft>
            </a:pPr>
            <a:r>
              <a:rPr lang="en-US" sz="1900"/>
              <a:t>Merge multiple documents to create an inverted index</a:t>
            </a:r>
          </a:p>
          <a:p>
            <a:pPr>
              <a:lnSpc>
                <a:spcPct val="90000"/>
              </a:lnSpc>
              <a:spcAft>
                <a:spcPts val="600"/>
              </a:spcAft>
            </a:pPr>
            <a:endParaRPr lang="en-US" sz="1900"/>
          </a:p>
        </p:txBody>
      </p:sp>
      <p:pic>
        <p:nvPicPr>
          <p:cNvPr id="6" name="Picture 5">
            <a:extLst>
              <a:ext uri="{FF2B5EF4-FFF2-40B4-BE49-F238E27FC236}">
                <a16:creationId xmlns:a16="http://schemas.microsoft.com/office/drawing/2014/main" id="{66B8EC6F-1F55-49C9-B63E-A4884C06C70E}"/>
              </a:ext>
            </a:extLst>
          </p:cNvPr>
          <p:cNvPicPr>
            <a:picLocks noChangeAspect="1"/>
          </p:cNvPicPr>
          <p:nvPr/>
        </p:nvPicPr>
        <p:blipFill rotWithShape="1">
          <a:blip r:embed="rId3"/>
          <a:srcRect l="245" r="-2" b="-2"/>
          <a:stretch/>
        </p:blipFill>
        <p:spPr>
          <a:xfrm>
            <a:off x="6553200" y="1828800"/>
            <a:ext cx="5295900" cy="3424238"/>
          </a:xfrm>
          <a:prstGeom prst="rect">
            <a:avLst/>
          </a:prstGeom>
          <a:noFill/>
        </p:spPr>
      </p:pic>
      <p:pic>
        <p:nvPicPr>
          <p:cNvPr id="8" name="Picture 7">
            <a:extLst>
              <a:ext uri="{FF2B5EF4-FFF2-40B4-BE49-F238E27FC236}">
                <a16:creationId xmlns:a16="http://schemas.microsoft.com/office/drawing/2014/main" id="{DC458DE4-9DBD-4921-8591-9D4F4F76A9B0}"/>
              </a:ext>
            </a:extLst>
          </p:cNvPr>
          <p:cNvPicPr>
            <a:picLocks noChangeAspect="1"/>
          </p:cNvPicPr>
          <p:nvPr/>
        </p:nvPicPr>
        <p:blipFill>
          <a:blip r:embed="rId4"/>
          <a:stretch>
            <a:fillRect/>
          </a:stretch>
        </p:blipFill>
        <p:spPr>
          <a:xfrm>
            <a:off x="914400" y="1676400"/>
            <a:ext cx="4800600" cy="3821919"/>
          </a:xfrm>
          <a:prstGeom prst="rect">
            <a:avLst/>
          </a:prstGeom>
        </p:spPr>
      </p:pic>
    </p:spTree>
    <p:extLst>
      <p:ext uri="{BB962C8B-B14F-4D97-AF65-F5344CB8AC3E}">
        <p14:creationId xmlns:p14="http://schemas.microsoft.com/office/powerpoint/2010/main" val="3419163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56BED-2E8A-4CA2-B220-7A47E155525E}"/>
              </a:ext>
            </a:extLst>
          </p:cNvPr>
          <p:cNvSpPr>
            <a:spLocks noGrp="1"/>
          </p:cNvSpPr>
          <p:nvPr>
            <p:ph type="title"/>
          </p:nvPr>
        </p:nvSpPr>
        <p:spPr>
          <a:xfrm>
            <a:off x="655637" y="630238"/>
            <a:ext cx="3116263" cy="5597525"/>
          </a:xfrm>
          <a:prstGeom prst="rect">
            <a:avLst/>
          </a:prstGeom>
          <a:ln>
            <a:noFill/>
          </a:ln>
        </p:spPr>
        <p:txBody>
          <a:bodyPr wrap="square" anchor="ctr">
            <a:normAutofit/>
          </a:bodyPr>
          <a:lstStyle/>
          <a:p>
            <a:r>
              <a:rPr lang="en-US" dirty="0"/>
              <a:t>Inverted Index</a:t>
            </a:r>
          </a:p>
        </p:txBody>
      </p:sp>
      <p:sp>
        <p:nvSpPr>
          <p:cNvPr id="4" name="Content Placeholder 3">
            <a:extLst>
              <a:ext uri="{FF2B5EF4-FFF2-40B4-BE49-F238E27FC236}">
                <a16:creationId xmlns:a16="http://schemas.microsoft.com/office/drawing/2014/main" id="{42720EDC-FF02-4E9C-93F4-D773311759D8}"/>
              </a:ext>
            </a:extLst>
          </p:cNvPr>
          <p:cNvSpPr>
            <a:spLocks noGrp="1"/>
          </p:cNvSpPr>
          <p:nvPr>
            <p:ph type="body" sz="quarter" idx="10"/>
          </p:nvPr>
        </p:nvSpPr>
        <p:spPr>
          <a:xfrm>
            <a:off x="5008563" y="630238"/>
            <a:ext cx="6527800" cy="5597525"/>
          </a:xfrm>
          <a:prstGeom prst="rect">
            <a:avLst/>
          </a:prstGeom>
        </p:spPr>
        <p:txBody>
          <a:bodyPr anchor="ctr">
            <a:normAutofit/>
          </a:bodyPr>
          <a:lstStyle/>
          <a:p>
            <a:r>
              <a:rPr lang="en-US" dirty="0"/>
              <a:t>Capable of indexing every property of every record</a:t>
            </a:r>
          </a:p>
          <a:p>
            <a:r>
              <a:rPr lang="en-US" dirty="0"/>
              <a:t>Does not require a defined schema</a:t>
            </a:r>
          </a:p>
          <a:p>
            <a:r>
              <a:rPr lang="en-US" dirty="0"/>
              <a:t>Records can have heterogeneous schema</a:t>
            </a:r>
          </a:p>
          <a:p>
            <a:r>
              <a:rPr lang="en-US" dirty="0"/>
              <a:t>Common property structure will result in most efficient indexing structure</a:t>
            </a:r>
          </a:p>
          <a:p>
            <a:endParaRPr lang="en-US" dirty="0"/>
          </a:p>
        </p:txBody>
      </p:sp>
    </p:spTree>
    <p:extLst>
      <p:ext uri="{BB962C8B-B14F-4D97-AF65-F5344CB8AC3E}">
        <p14:creationId xmlns:p14="http://schemas.microsoft.com/office/powerpoint/2010/main" val="38585873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8BAB7-9A1D-4883-B8F6-056ABC5B7D91}"/>
              </a:ext>
            </a:extLst>
          </p:cNvPr>
          <p:cNvSpPr>
            <a:spLocks noGrp="1"/>
          </p:cNvSpPr>
          <p:nvPr>
            <p:ph type="title"/>
          </p:nvPr>
        </p:nvSpPr>
        <p:spPr>
          <a:xfrm>
            <a:off x="655638" y="277837"/>
            <a:ext cx="10880725" cy="461665"/>
          </a:xfrm>
        </p:spPr>
        <p:txBody>
          <a:bodyPr/>
          <a:lstStyle/>
          <a:p>
            <a:r>
              <a:rPr lang="en-US" dirty="0"/>
              <a:t>Indexing Modes </a:t>
            </a:r>
          </a:p>
        </p:txBody>
      </p:sp>
      <p:sp>
        <p:nvSpPr>
          <p:cNvPr id="10" name="Rectangle 9">
            <a:extLst>
              <a:ext uri="{FF2B5EF4-FFF2-40B4-BE49-F238E27FC236}">
                <a16:creationId xmlns:a16="http://schemas.microsoft.com/office/drawing/2014/main" id="{08250D99-AB05-444D-B71D-CDDB536C65C4}"/>
              </a:ext>
            </a:extLst>
          </p:cNvPr>
          <p:cNvSpPr/>
          <p:nvPr/>
        </p:nvSpPr>
        <p:spPr bwMode="auto">
          <a:xfrm>
            <a:off x="457200" y="1595735"/>
            <a:ext cx="3508759" cy="4676898"/>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istent</a:t>
            </a: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342900" marR="0" lvl="0" indent="-342900"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dex updates synchronously with document updates</a:t>
            </a:r>
          </a:p>
          <a:p>
            <a:pPr marL="0" marR="0" lvl="0" indent="0"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3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rite quickly, query immediately</a:t>
            </a:r>
          </a:p>
        </p:txBody>
      </p:sp>
      <p:sp>
        <p:nvSpPr>
          <p:cNvPr id="12" name="Rectangle 11">
            <a:extLst>
              <a:ext uri="{FF2B5EF4-FFF2-40B4-BE49-F238E27FC236}">
                <a16:creationId xmlns:a16="http://schemas.microsoft.com/office/drawing/2014/main" id="{3A4E5247-077D-4EFB-8D5A-DC429235CFE7}"/>
              </a:ext>
            </a:extLst>
          </p:cNvPr>
          <p:cNvSpPr/>
          <p:nvPr/>
        </p:nvSpPr>
        <p:spPr bwMode="auto">
          <a:xfrm>
            <a:off x="4253074" y="1595735"/>
            <a:ext cx="3685852" cy="4676898"/>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azy</a:t>
            </a: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342900" marR="0" lvl="0" indent="-342900"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ndex updates asynchronously when throughput is not utilized</a:t>
            </a:r>
          </a:p>
          <a:p>
            <a:pPr marL="0" marR="0" lvl="0" indent="0"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3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Ingest now, </a:t>
            </a: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3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query later”</a:t>
            </a:r>
          </a:p>
        </p:txBody>
      </p:sp>
      <p:sp>
        <p:nvSpPr>
          <p:cNvPr id="13" name="Rectangle 12">
            <a:extLst>
              <a:ext uri="{FF2B5EF4-FFF2-40B4-BE49-F238E27FC236}">
                <a16:creationId xmlns:a16="http://schemas.microsoft.com/office/drawing/2014/main" id="{0E430FBC-C1FA-4226-A658-FD3560A89235}"/>
              </a:ext>
            </a:extLst>
          </p:cNvPr>
          <p:cNvSpPr/>
          <p:nvPr/>
        </p:nvSpPr>
        <p:spPr bwMode="auto">
          <a:xfrm>
            <a:off x="8286368" y="1595735"/>
            <a:ext cx="3524632" cy="467689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ne</a:t>
            </a: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342900" marR="0" lvl="0" indent="-342900"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No indexing, queries are scan only</a:t>
            </a:r>
          </a:p>
          <a:p>
            <a:pPr marL="342900" marR="0" lvl="0" indent="-342900" defTabSz="932472"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defTabSz="932472"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ctr" defTabSz="932472" eaLnBrk="1" fontAlgn="base" latinLnBrk="0" hangingPunct="1">
              <a:lnSpc>
                <a:spcPct val="90000"/>
              </a:lnSpc>
              <a:spcBef>
                <a:spcPct val="0"/>
              </a:spcBef>
              <a:spcAft>
                <a:spcPct val="0"/>
              </a:spcAft>
              <a:buClrTx/>
              <a:buSzTx/>
              <a:buFontTx/>
              <a:buNone/>
              <a:tabLst/>
              <a:defRPr/>
            </a:pPr>
            <a:r>
              <a:rPr kumimoji="0" lang="en-US" sz="3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Cosmos DB as a key-value store”</a:t>
            </a:r>
          </a:p>
        </p:txBody>
      </p:sp>
    </p:spTree>
    <p:extLst>
      <p:ext uri="{BB962C8B-B14F-4D97-AF65-F5344CB8AC3E}">
        <p14:creationId xmlns:p14="http://schemas.microsoft.com/office/powerpoint/2010/main" val="2160374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0">
                                            <p:txEl>
                                              <p:pRg st="5" end="5"/>
                                            </p:txEl>
                                          </p:spTgt>
                                        </p:tgtEl>
                                        <p:attrNameLst>
                                          <p:attrName>style.visibility</p:attrName>
                                        </p:attrNameLst>
                                      </p:cBhvr>
                                      <p:to>
                                        <p:strVal val="visible"/>
                                      </p:to>
                                    </p:set>
                                    <p:animEffect transition="in" filter="fade">
                                      <p:cBhvr>
                                        <p:cTn id="11" dur="500"/>
                                        <p:tgtEl>
                                          <p:spTgt spid="10">
                                            <p:txEl>
                                              <p:pRg st="5" end="5"/>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xEl>
                                              <p:pRg st="5" end="5"/>
                                            </p:txEl>
                                          </p:spTgt>
                                        </p:tgtEl>
                                        <p:attrNameLst>
                                          <p:attrName>style.visibility</p:attrName>
                                        </p:attrNameLst>
                                      </p:cBhvr>
                                      <p:to>
                                        <p:strVal val="visible"/>
                                      </p:to>
                                    </p:set>
                                    <p:animEffect transition="in" filter="fade">
                                      <p:cBhvr>
                                        <p:cTn id="20" dur="500"/>
                                        <p:tgtEl>
                                          <p:spTgt spid="12">
                                            <p:txEl>
                                              <p:pRg st="5" end="5"/>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2">
                                            <p:txEl>
                                              <p:pRg st="6" end="6"/>
                                            </p:txEl>
                                          </p:spTgt>
                                        </p:tgtEl>
                                        <p:attrNameLst>
                                          <p:attrName>style.visibility</p:attrName>
                                        </p:attrNameLst>
                                      </p:cBhvr>
                                      <p:to>
                                        <p:strVal val="visible"/>
                                      </p:to>
                                    </p:set>
                                    <p:animEffect transition="in" filter="fade">
                                      <p:cBhvr>
                                        <p:cTn id="23" dur="500"/>
                                        <p:tgtEl>
                                          <p:spTgt spid="12">
                                            <p:txEl>
                                              <p:pRg st="6" end="6"/>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xEl>
                                              <p:pRg st="6" end="6"/>
                                            </p:txEl>
                                          </p:spTgt>
                                        </p:tgtEl>
                                        <p:attrNameLst>
                                          <p:attrName>style.visibility</p:attrName>
                                        </p:attrNameLst>
                                      </p:cBhvr>
                                      <p:to>
                                        <p:strVal val="visible"/>
                                      </p:to>
                                    </p:set>
                                    <p:animEffect transition="in" filter="fade">
                                      <p:cBhvr>
                                        <p:cTn id="32" dur="500"/>
                                        <p:tgtEl>
                                          <p:spTgt spid="1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847AD-3A86-4EED-8494-87C67AD8430E}"/>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Index Policies - Tuning Indices</a:t>
            </a:r>
          </a:p>
        </p:txBody>
      </p:sp>
      <p:sp>
        <p:nvSpPr>
          <p:cNvPr id="4" name="Content Placeholder 3">
            <a:extLst>
              <a:ext uri="{FF2B5EF4-FFF2-40B4-BE49-F238E27FC236}">
                <a16:creationId xmlns:a16="http://schemas.microsoft.com/office/drawing/2014/main" id="{0B642B24-1942-4D29-9932-0803CCAFC00D}"/>
              </a:ext>
            </a:extLst>
          </p:cNvPr>
          <p:cNvSpPr>
            <a:spLocks noGrp="1"/>
          </p:cNvSpPr>
          <p:nvPr>
            <p:ph sz="quarter" idx="13"/>
          </p:nvPr>
        </p:nvSpPr>
        <p:spPr>
          <a:xfrm>
            <a:off x="655638" y="1408114"/>
            <a:ext cx="10880726" cy="4819650"/>
          </a:xfrm>
          <a:prstGeom prst="rect">
            <a:avLst/>
          </a:prstGeom>
        </p:spPr>
        <p:txBody>
          <a:bodyPr>
            <a:normAutofit/>
          </a:bodyPr>
          <a:lstStyle/>
          <a:p>
            <a:r>
              <a:rPr lang="en-US" dirty="0"/>
              <a:t>Fine tune indexing policies via SDKs or the Azure Portal</a:t>
            </a:r>
          </a:p>
          <a:p>
            <a:pPr marL="0" indent="0">
              <a:buNone/>
            </a:pPr>
            <a:endParaRPr lang="en-US" dirty="0"/>
          </a:p>
          <a:p>
            <a:r>
              <a:rPr lang="en-US" dirty="0"/>
              <a:t>Shape indexing policies without affecting schema</a:t>
            </a:r>
          </a:p>
          <a:p>
            <a:pPr marL="0" indent="0">
              <a:buNone/>
            </a:pPr>
            <a:endParaRPr lang="en-US" dirty="0"/>
          </a:p>
          <a:p>
            <a:r>
              <a:rPr lang="en-US" dirty="0"/>
              <a:t>Make trade-offs between index overhead, write and query throughput, and query consistency</a:t>
            </a:r>
          </a:p>
          <a:p>
            <a:endParaRPr lang="en-US" dirty="0"/>
          </a:p>
        </p:txBody>
      </p:sp>
    </p:spTree>
    <p:extLst>
      <p:ext uri="{BB962C8B-B14F-4D97-AF65-F5344CB8AC3E}">
        <p14:creationId xmlns:p14="http://schemas.microsoft.com/office/powerpoint/2010/main" val="20920850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27ACA1-9C49-4A49-BE32-307CC7C9E6A5}"/>
              </a:ext>
            </a:extLst>
          </p:cNvPr>
          <p:cNvSpPr>
            <a:spLocks noGrp="1"/>
          </p:cNvSpPr>
          <p:nvPr>
            <p:ph type="title"/>
          </p:nvPr>
        </p:nvSpPr>
        <p:spPr>
          <a:xfrm>
            <a:off x="655638" y="320040"/>
            <a:ext cx="10880725" cy="461665"/>
          </a:xfrm>
          <a:prstGeom prst="rect">
            <a:avLst/>
          </a:prstGeom>
          <a:ln>
            <a:noFill/>
          </a:ln>
        </p:spPr>
        <p:txBody>
          <a:bodyPr wrap="square" anchor="t">
            <a:normAutofit/>
          </a:bodyPr>
          <a:lstStyle/>
          <a:p>
            <a:r>
              <a:rPr lang="en-US" dirty="0"/>
              <a:t>Simple Indexing Policy</a:t>
            </a:r>
          </a:p>
        </p:txBody>
      </p:sp>
      <p:pic>
        <p:nvPicPr>
          <p:cNvPr id="4" name="Picture 3">
            <a:extLst>
              <a:ext uri="{FF2B5EF4-FFF2-40B4-BE49-F238E27FC236}">
                <a16:creationId xmlns:a16="http://schemas.microsoft.com/office/drawing/2014/main" id="{F036BEBA-3987-4D2D-B876-DFD0E0F3E72D}"/>
              </a:ext>
            </a:extLst>
          </p:cNvPr>
          <p:cNvPicPr>
            <a:picLocks noChangeAspect="1"/>
          </p:cNvPicPr>
          <p:nvPr/>
        </p:nvPicPr>
        <p:blipFill>
          <a:blip r:embed="rId3"/>
          <a:stretch>
            <a:fillRect/>
          </a:stretch>
        </p:blipFill>
        <p:spPr>
          <a:xfrm>
            <a:off x="1593081" y="1408113"/>
            <a:ext cx="3409901" cy="4819650"/>
          </a:xfrm>
          <a:prstGeom prst="rect">
            <a:avLst/>
          </a:prstGeom>
          <a:noFill/>
        </p:spPr>
      </p:pic>
      <p:sp>
        <p:nvSpPr>
          <p:cNvPr id="3" name="Content Placeholder 2">
            <a:extLst>
              <a:ext uri="{FF2B5EF4-FFF2-40B4-BE49-F238E27FC236}">
                <a16:creationId xmlns:a16="http://schemas.microsoft.com/office/drawing/2014/main" id="{CA65C7FF-EAFC-41F6-9BB3-0D594FEADD6E}"/>
              </a:ext>
            </a:extLst>
          </p:cNvPr>
          <p:cNvSpPr>
            <a:spLocks noGrp="1"/>
          </p:cNvSpPr>
          <p:nvPr>
            <p:ph sz="quarter" idx="14"/>
          </p:nvPr>
        </p:nvSpPr>
        <p:spPr>
          <a:xfrm>
            <a:off x="6251576" y="1408113"/>
            <a:ext cx="5284785" cy="4819650"/>
          </a:xfrm>
          <a:prstGeom prst="rect">
            <a:avLst/>
          </a:prstGeom>
        </p:spPr>
        <p:txBody>
          <a:bodyPr>
            <a:normAutofit/>
          </a:bodyPr>
          <a:lstStyle/>
          <a:p>
            <a:pPr marL="342900" indent="-342900">
              <a:buFont typeface="Arial" panose="020B0604020202020204" pitchFamily="34" charset="0"/>
              <a:buChar char="•"/>
            </a:pPr>
            <a:r>
              <a:rPr lang="en-US" dirty="0"/>
              <a:t>Index policies are set per path</a:t>
            </a:r>
          </a:p>
          <a:p>
            <a:pPr marL="342900" indent="-342900">
              <a:buFont typeface="Arial" panose="020B0604020202020204" pitchFamily="34" charset="0"/>
              <a:buChar char="•"/>
            </a:pPr>
            <a:r>
              <a:rPr lang="en-US" dirty="0"/>
              <a:t>Paths can contain wildcards</a:t>
            </a:r>
          </a:p>
          <a:p>
            <a:pPr marL="342900" indent="-342900">
              <a:buFont typeface="Arial" panose="020B0604020202020204" pitchFamily="34" charset="0"/>
              <a:buChar char="•"/>
            </a:pPr>
            <a:r>
              <a:rPr lang="en-US" dirty="0"/>
              <a:t>Policies are determined by most specific paths</a:t>
            </a:r>
          </a:p>
          <a:p>
            <a:pPr marL="342900" indent="-342900">
              <a:buFont typeface="Arial" panose="020B0604020202020204" pitchFamily="34" charset="0"/>
              <a:buChar char="•"/>
            </a:pPr>
            <a:r>
              <a:rPr lang="en-US" dirty="0"/>
              <a:t>Included vs excluded paths</a:t>
            </a:r>
          </a:p>
          <a:p>
            <a:endParaRPr lang="en-US" dirty="0"/>
          </a:p>
        </p:txBody>
      </p:sp>
    </p:spTree>
    <p:extLst>
      <p:ext uri="{BB962C8B-B14F-4D97-AF65-F5344CB8AC3E}">
        <p14:creationId xmlns:p14="http://schemas.microsoft.com/office/powerpoint/2010/main" val="2674780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C9EAA8-D0F2-47C6-8385-DB3975F70CE8}"/>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Index Paths</a:t>
            </a:r>
          </a:p>
        </p:txBody>
      </p:sp>
      <p:graphicFrame>
        <p:nvGraphicFramePr>
          <p:cNvPr id="5" name="Content Placeholder 2">
            <a:extLst>
              <a:ext uri="{FF2B5EF4-FFF2-40B4-BE49-F238E27FC236}">
                <a16:creationId xmlns:a16="http://schemas.microsoft.com/office/drawing/2014/main" id="{1ACF34AA-A71D-421B-9F6C-8918D8C12BB2}"/>
              </a:ext>
            </a:extLst>
          </p:cNvPr>
          <p:cNvGraphicFramePr>
            <a:graphicFrameLocks noGrp="1"/>
          </p:cNvGraphicFramePr>
          <p:nvPr>
            <p:ph sz="quarter" idx="13"/>
            <p:extLst>
              <p:ext uri="{D42A27DB-BD31-4B8C-83A1-F6EECF244321}">
                <p14:modId xmlns:p14="http://schemas.microsoft.com/office/powerpoint/2010/main" val="1984934450"/>
              </p:ext>
            </p:extLst>
          </p:nvPr>
        </p:nvGraphicFramePr>
        <p:xfrm>
          <a:off x="655638" y="1248048"/>
          <a:ext cx="10880726" cy="49797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89444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BB1E4-CDBD-4F51-9BE8-CE8C900562C5}"/>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Including &amp; Excluding Property Paths</a:t>
            </a:r>
          </a:p>
        </p:txBody>
      </p:sp>
      <p:graphicFrame>
        <p:nvGraphicFramePr>
          <p:cNvPr id="6" name="Content Placeholder 3">
            <a:extLst>
              <a:ext uri="{FF2B5EF4-FFF2-40B4-BE49-F238E27FC236}">
                <a16:creationId xmlns:a16="http://schemas.microsoft.com/office/drawing/2014/main" id="{45157991-760E-46C6-B658-64561A9E72F3}"/>
              </a:ext>
            </a:extLst>
          </p:cNvPr>
          <p:cNvGraphicFramePr>
            <a:graphicFrameLocks noGrp="1"/>
          </p:cNvGraphicFramePr>
          <p:nvPr>
            <p:ph sz="quarter" idx="13"/>
            <p:extLst>
              <p:ext uri="{D42A27DB-BD31-4B8C-83A1-F6EECF244321}">
                <p14:modId xmlns:p14="http://schemas.microsoft.com/office/powerpoint/2010/main" val="57943191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285019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7C6BC-5275-46AE-A5B9-2803AF1EFD96}"/>
              </a:ext>
            </a:extLst>
          </p:cNvPr>
          <p:cNvSpPr>
            <a:spLocks noGrp="1"/>
          </p:cNvSpPr>
          <p:nvPr>
            <p:ph type="title"/>
          </p:nvPr>
        </p:nvSpPr>
        <p:spPr>
          <a:xfrm>
            <a:off x="609600" y="255937"/>
            <a:ext cx="10880725" cy="461665"/>
          </a:xfrm>
        </p:spPr>
        <p:txBody>
          <a:bodyPr/>
          <a:lstStyle/>
          <a:p>
            <a:r>
              <a:rPr lang="en-US" dirty="0"/>
              <a:t>Composite Indexes</a:t>
            </a:r>
          </a:p>
        </p:txBody>
      </p:sp>
      <p:sp>
        <p:nvSpPr>
          <p:cNvPr id="3" name="Content Placeholder 2">
            <a:extLst>
              <a:ext uri="{FF2B5EF4-FFF2-40B4-BE49-F238E27FC236}">
                <a16:creationId xmlns:a16="http://schemas.microsoft.com/office/drawing/2014/main" id="{0CFA15DC-2DFE-4BF1-89EE-8FE0D38E1EA3}"/>
              </a:ext>
            </a:extLst>
          </p:cNvPr>
          <p:cNvSpPr>
            <a:spLocks noGrp="1"/>
          </p:cNvSpPr>
          <p:nvPr>
            <p:ph sz="quarter" idx="13"/>
          </p:nvPr>
        </p:nvSpPr>
        <p:spPr>
          <a:xfrm>
            <a:off x="228600" y="1447800"/>
            <a:ext cx="10880726" cy="4819650"/>
          </a:xfrm>
        </p:spPr>
        <p:txBody>
          <a:bodyPr/>
          <a:lstStyle/>
          <a:p>
            <a:pPr marL="342900" indent="-342900">
              <a:buFont typeface="Arial" panose="020B0604020202020204" pitchFamily="34" charset="0"/>
              <a:buChar char="•"/>
            </a:pPr>
            <a:r>
              <a:rPr lang="en-US" dirty="0"/>
              <a:t>ORDER BY queries on multiple properties</a:t>
            </a:r>
          </a:p>
          <a:p>
            <a:pPr marL="342900" indent="-342900">
              <a:buFont typeface="Arial" panose="020B0604020202020204" pitchFamily="34" charset="0"/>
              <a:buChar char="•"/>
            </a:pPr>
            <a:r>
              <a:rPr lang="en-US" dirty="0"/>
              <a:t>Queries with a filter as well as an ORDER BY clause</a:t>
            </a:r>
          </a:p>
          <a:p>
            <a:pPr marL="342900" indent="-342900">
              <a:buFont typeface="Arial" panose="020B0604020202020204" pitchFamily="34" charset="0"/>
              <a:buChar char="•"/>
            </a:pPr>
            <a:r>
              <a:rPr lang="en-US" dirty="0"/>
              <a:t>Queries with a filter on two or more properties</a:t>
            </a:r>
          </a:p>
          <a:p>
            <a:endParaRPr lang="en-US" dirty="0"/>
          </a:p>
          <a:p>
            <a:endParaRPr lang="en-US" dirty="0"/>
          </a:p>
        </p:txBody>
      </p:sp>
      <p:sp>
        <p:nvSpPr>
          <p:cNvPr id="5" name="Rectangle 4">
            <a:extLst>
              <a:ext uri="{FF2B5EF4-FFF2-40B4-BE49-F238E27FC236}">
                <a16:creationId xmlns:a16="http://schemas.microsoft.com/office/drawing/2014/main" id="{C1B1251A-ABE5-4B89-99B6-4CC1E3075233}"/>
              </a:ext>
            </a:extLst>
          </p:cNvPr>
          <p:cNvSpPr/>
          <p:nvPr/>
        </p:nvSpPr>
        <p:spPr>
          <a:xfrm>
            <a:off x="6248400" y="304800"/>
            <a:ext cx="5857662" cy="6463308"/>
          </a:xfrm>
          <a:prstGeom prst="rect">
            <a:avLst/>
          </a:prstGeom>
        </p:spPr>
        <p:txBody>
          <a:bodyPr wrap="square">
            <a:spAutoFit/>
          </a:bodyPr>
          <a:lstStyle/>
          <a:p>
            <a:pPr defTabSz="932742"/>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a:t>
            </a:r>
            <a:r>
              <a:rPr lang="en-US" dirty="0">
                <a:solidFill>
                  <a:srgbClr val="D83B01">
                    <a:lumMod val="75000"/>
                  </a:srgbClr>
                </a:solidFill>
                <a:latin typeface="Lucida Sans Typewriter" panose="020B0509030504030204" pitchFamily="49" charset="0"/>
              </a:rPr>
              <a:t>"automatic“ </a:t>
            </a:r>
            <a:r>
              <a:rPr lang="en-US" dirty="0">
                <a:solidFill>
                  <a:srgbClr val="505050"/>
                </a:solidFill>
                <a:latin typeface="Lucida Sans Typewriter" panose="020B0509030504030204" pitchFamily="49" charset="0"/>
              </a:rPr>
              <a:t>:</a:t>
            </a:r>
            <a:r>
              <a:rPr lang="en-US" dirty="0">
                <a:solidFill>
                  <a:srgbClr val="FF0000"/>
                </a:solidFill>
                <a:latin typeface="Lucida Sans Typewriter" panose="020B0509030504030204" pitchFamily="49" charset="0"/>
              </a:rPr>
              <a:t> </a:t>
            </a:r>
            <a:r>
              <a:rPr lang="en-US" dirty="0">
                <a:solidFill>
                  <a:srgbClr val="002050">
                    <a:lumMod val="75000"/>
                    <a:lumOff val="25000"/>
                  </a:srgbClr>
                </a:solidFill>
                <a:latin typeface="Lucida Sans Typewriter" panose="020B0509030504030204" pitchFamily="49" charset="0"/>
              </a:rPr>
              <a:t>true</a:t>
            </a:r>
            <a:r>
              <a:rPr lang="en-US" dirty="0">
                <a:solidFill>
                  <a:srgbClr val="505050"/>
                </a:solidFill>
                <a:latin typeface="Lucida Sans Typewriter" panose="020B0509030504030204" pitchFamily="49" charset="0"/>
              </a:rPr>
              <a:t>,</a:t>
            </a:r>
          </a:p>
          <a:p>
            <a:pPr defTabSz="932742"/>
            <a:r>
              <a:rPr lang="en-US" dirty="0">
                <a:solidFill>
                  <a:srgbClr val="FF0000"/>
                </a:solidFill>
                <a:latin typeface="Lucida Sans Typewriter" panose="020B0509030504030204" pitchFamily="49" charset="0"/>
              </a:rPr>
              <a:t>        </a:t>
            </a:r>
            <a:r>
              <a:rPr lang="en-US" dirty="0">
                <a:solidFill>
                  <a:srgbClr val="D83B01">
                    <a:lumMod val="75000"/>
                  </a:srgbClr>
                </a:solidFill>
                <a:latin typeface="Lucida Sans Typewriter" panose="020B0509030504030204" pitchFamily="49" charset="0"/>
              </a:rPr>
              <a:t>"</a:t>
            </a:r>
            <a:r>
              <a:rPr lang="en-US" dirty="0" err="1">
                <a:solidFill>
                  <a:srgbClr val="D83B01">
                    <a:lumMod val="75000"/>
                  </a:srgbClr>
                </a:solidFill>
                <a:latin typeface="Lucida Sans Typewriter" panose="020B0509030504030204" pitchFamily="49" charset="0"/>
              </a:rPr>
              <a:t>indexingMode</a:t>
            </a:r>
            <a:r>
              <a:rPr lang="en-US" dirty="0">
                <a:solidFill>
                  <a:srgbClr val="D83B01">
                    <a:lumMod val="75000"/>
                  </a:srgbClr>
                </a:solidFill>
                <a:latin typeface="Lucida Sans Typewriter" panose="020B0509030504030204" pitchFamily="49" charset="0"/>
              </a:rPr>
              <a:t>“ </a:t>
            </a:r>
            <a:r>
              <a:rPr lang="en-US" dirty="0">
                <a:solidFill>
                  <a:srgbClr val="505050"/>
                </a:solidFill>
                <a:latin typeface="Lucida Sans Typewriter" panose="020B0509030504030204" pitchFamily="49" charset="0"/>
              </a:rPr>
              <a:t>: </a:t>
            </a:r>
            <a:r>
              <a:rPr lang="en-US" dirty="0">
                <a:solidFill>
                  <a:srgbClr val="002050">
                    <a:lumMod val="75000"/>
                    <a:lumOff val="25000"/>
                  </a:srgbClr>
                </a:solidFill>
                <a:latin typeface="Lucida Sans Typewriter" panose="020B0509030504030204" pitchFamily="49" charset="0"/>
              </a:rPr>
              <a:t>"Consistent” </a:t>
            </a:r>
            <a:r>
              <a:rPr lang="en-US" dirty="0">
                <a:solidFill>
                  <a:srgbClr val="505050"/>
                </a:solidFill>
                <a:latin typeface="Lucida Sans Typewriter" panose="020B0509030504030204" pitchFamily="49" charset="0"/>
              </a:rPr>
              <a:t>,</a:t>
            </a:r>
          </a:p>
          <a:p>
            <a:pPr defTabSz="932742"/>
            <a:r>
              <a:rPr lang="en-US" dirty="0">
                <a:solidFill>
                  <a:srgbClr val="505050"/>
                </a:solidFill>
                <a:latin typeface="Lucida Sans Typewriter" panose="020B0509030504030204" pitchFamily="49" charset="0"/>
              </a:rPr>
              <a:t>        </a:t>
            </a:r>
            <a:r>
              <a:rPr lang="en-US" dirty="0">
                <a:solidFill>
                  <a:srgbClr val="D83B01">
                    <a:lumMod val="75000"/>
                  </a:srgbClr>
                </a:solidFill>
                <a:latin typeface="Lucida Sans Typewriter" panose="020B0509030504030204" pitchFamily="49" charset="0"/>
              </a:rPr>
              <a:t>"</a:t>
            </a:r>
            <a:r>
              <a:rPr lang="en-US" dirty="0" err="1">
                <a:solidFill>
                  <a:srgbClr val="D83B01">
                    <a:lumMod val="75000"/>
                  </a:srgbClr>
                </a:solidFill>
                <a:latin typeface="Lucida Sans Typewriter" panose="020B0509030504030204" pitchFamily="49" charset="0"/>
              </a:rPr>
              <a:t>includedPaths</a:t>
            </a:r>
            <a:r>
              <a:rPr lang="en-US" dirty="0">
                <a:solidFill>
                  <a:srgbClr val="D83B01">
                    <a:lumMod val="75000"/>
                  </a:srgbClr>
                </a:solidFill>
                <a:latin typeface="Lucida Sans Typewriter" panose="020B0509030504030204" pitchFamily="49" charset="0"/>
              </a:rPr>
              <a:t>“ </a:t>
            </a:r>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  </a:t>
            </a:r>
          </a:p>
          <a:p>
            <a:pPr defTabSz="932742"/>
            <a:r>
              <a:rPr lang="en-US" dirty="0">
                <a:solidFill>
                  <a:srgbClr val="505050"/>
                </a:solidFill>
                <a:latin typeface="Lucida Sans Typewriter" panose="020B0509030504030204" pitchFamily="49" charset="0"/>
              </a:rPr>
              <a:t>                </a:t>
            </a:r>
            <a:r>
              <a:rPr lang="en-US" dirty="0">
                <a:solidFill>
                  <a:srgbClr val="D83B01">
                    <a:lumMod val="75000"/>
                  </a:srgbClr>
                </a:solidFill>
                <a:latin typeface="Lucida Sans Typewriter" panose="020B0509030504030204" pitchFamily="49" charset="0"/>
              </a:rPr>
              <a:t>"path“ </a:t>
            </a:r>
            <a:r>
              <a:rPr lang="en-US" dirty="0">
                <a:solidFill>
                  <a:srgbClr val="505050"/>
                </a:solidFill>
                <a:latin typeface="Lucida Sans Typewriter" panose="020B0509030504030204" pitchFamily="49" charset="0"/>
              </a:rPr>
              <a:t>: </a:t>
            </a:r>
            <a:r>
              <a:rPr lang="en-US" dirty="0">
                <a:solidFill>
                  <a:srgbClr val="002050">
                    <a:lumMod val="75000"/>
                    <a:lumOff val="25000"/>
                  </a:srgbClr>
                </a:solidFill>
                <a:latin typeface="Lucida Sans Typewriter" panose="020B0509030504030204" pitchFamily="49" charset="0"/>
              </a:rPr>
              <a:t>"/*"</a:t>
            </a:r>
          </a:p>
          <a:p>
            <a:pPr defTabSz="932742"/>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a:t>
            </a:r>
            <a:r>
              <a:rPr lang="en-US" dirty="0">
                <a:solidFill>
                  <a:srgbClr val="D83B01">
                    <a:lumMod val="75000"/>
                  </a:srgbClr>
                </a:solidFill>
                <a:latin typeface="Lucida Sans Typewriter" panose="020B0509030504030204" pitchFamily="49" charset="0"/>
              </a:rPr>
              <a:t>"</a:t>
            </a:r>
            <a:r>
              <a:rPr lang="en-US" dirty="0" err="1">
                <a:solidFill>
                  <a:srgbClr val="D83B01">
                    <a:lumMod val="75000"/>
                  </a:srgbClr>
                </a:solidFill>
                <a:latin typeface="Lucida Sans Typewriter" panose="020B0509030504030204" pitchFamily="49" charset="0"/>
              </a:rPr>
              <a:t>excludedPaths</a:t>
            </a:r>
            <a:r>
              <a:rPr lang="en-US" dirty="0">
                <a:solidFill>
                  <a:srgbClr val="D83B01">
                    <a:lumMod val="75000"/>
                  </a:srgbClr>
                </a:solidFill>
                <a:latin typeface="Lucida Sans Typewriter" panose="020B0509030504030204" pitchFamily="49" charset="0"/>
              </a:rPr>
              <a:t>“ </a:t>
            </a:r>
            <a:r>
              <a:rPr lang="en-US" dirty="0">
                <a:solidFill>
                  <a:srgbClr val="505050"/>
                </a:solidFill>
                <a:latin typeface="Lucida Sans Typewriter" panose="020B0509030504030204" pitchFamily="49" charset="0"/>
              </a:rPr>
              <a:t>:</a:t>
            </a:r>
            <a:r>
              <a:rPr lang="en-US" dirty="0">
                <a:solidFill>
                  <a:srgbClr val="002050">
                    <a:lumMod val="75000"/>
                    <a:lumOff val="25000"/>
                  </a:srgbClr>
                </a:solidFill>
                <a:latin typeface="Lucida Sans Typewriter" panose="020B0509030504030204" pitchFamily="49" charset="0"/>
              </a:rPr>
              <a:t>[]</a:t>
            </a:r>
            <a:r>
              <a:rPr lang="en-US" dirty="0">
                <a:solidFill>
                  <a:srgbClr val="505050"/>
                </a:solidFill>
                <a:latin typeface="Lucida Sans Typewriter" panose="020B0509030504030204" pitchFamily="49" charset="0"/>
              </a:rPr>
              <a:t>,</a:t>
            </a:r>
          </a:p>
          <a:p>
            <a:pPr defTabSz="932742"/>
            <a:r>
              <a:rPr lang="en-US" dirty="0">
                <a:solidFill>
                  <a:srgbClr val="505050"/>
                </a:solidFill>
                <a:latin typeface="Lucida Sans Typewriter" panose="020B0509030504030204" pitchFamily="49" charset="0"/>
              </a:rPr>
              <a:t>        </a:t>
            </a:r>
            <a:r>
              <a:rPr lang="en-US" dirty="0">
                <a:solidFill>
                  <a:srgbClr val="D83B01">
                    <a:lumMod val="75000"/>
                  </a:srgbClr>
                </a:solidFill>
                <a:latin typeface="Lucida Sans Typewriter" panose="020B0509030504030204" pitchFamily="49" charset="0"/>
              </a:rPr>
              <a:t>"</a:t>
            </a:r>
            <a:r>
              <a:rPr lang="en-US" dirty="0" err="1">
                <a:solidFill>
                  <a:srgbClr val="D83B01">
                    <a:lumMod val="75000"/>
                  </a:srgbClr>
                </a:solidFill>
                <a:latin typeface="Lucida Sans Typewriter" panose="020B0509030504030204" pitchFamily="49" charset="0"/>
              </a:rPr>
              <a:t>compositeIndexes</a:t>
            </a:r>
            <a:r>
              <a:rPr lang="en-US" dirty="0">
                <a:solidFill>
                  <a:srgbClr val="D83B01">
                    <a:lumMod val="75000"/>
                  </a:srgbClr>
                </a:solidFill>
                <a:latin typeface="Lucida Sans Typewriter" panose="020B0509030504030204" pitchFamily="49" charset="0"/>
              </a:rPr>
              <a:t>“ </a:t>
            </a:r>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  </a:t>
            </a:r>
          </a:p>
          <a:p>
            <a:pPr defTabSz="932742"/>
            <a:r>
              <a:rPr lang="en-US" dirty="0">
                <a:solidFill>
                  <a:srgbClr val="505050"/>
                </a:solidFill>
                <a:latin typeface="Lucida Sans Typewriter" panose="020B0509030504030204" pitchFamily="49" charset="0"/>
              </a:rPr>
              <a:t>                {  </a:t>
            </a:r>
          </a:p>
          <a:p>
            <a:pPr defTabSz="932742"/>
            <a:r>
              <a:rPr lang="en-US" dirty="0">
                <a:solidFill>
                  <a:srgbClr val="505050"/>
                </a:solidFill>
                <a:latin typeface="Lucida Sans Typewriter" panose="020B0509030504030204" pitchFamily="49" charset="0"/>
              </a:rPr>
              <a:t>                    </a:t>
            </a:r>
            <a:r>
              <a:rPr lang="en-US" dirty="0">
                <a:solidFill>
                  <a:srgbClr val="D83B01">
                    <a:lumMod val="75000"/>
                  </a:srgbClr>
                </a:solidFill>
                <a:latin typeface="Lucida Sans Typewriter" panose="020B0509030504030204" pitchFamily="49" charset="0"/>
              </a:rPr>
              <a:t>"path“ </a:t>
            </a:r>
            <a:r>
              <a:rPr lang="en-US" dirty="0">
                <a:solidFill>
                  <a:srgbClr val="505050"/>
                </a:solidFill>
                <a:latin typeface="Lucida Sans Typewriter" panose="020B0509030504030204" pitchFamily="49" charset="0"/>
              </a:rPr>
              <a:t>: </a:t>
            </a:r>
            <a:r>
              <a:rPr lang="en-US" dirty="0">
                <a:solidFill>
                  <a:srgbClr val="002050">
                    <a:lumMod val="75000"/>
                    <a:lumOff val="25000"/>
                  </a:srgbClr>
                </a:solidFill>
                <a:latin typeface="Lucida Sans Typewriter" panose="020B0509030504030204" pitchFamily="49" charset="0"/>
              </a:rPr>
              <a:t>"/name“</a:t>
            </a:r>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a:t>
            </a:r>
            <a:r>
              <a:rPr lang="en-US" dirty="0">
                <a:solidFill>
                  <a:srgbClr val="D83B01">
                    <a:lumMod val="75000"/>
                  </a:srgbClr>
                </a:solidFill>
                <a:latin typeface="Lucida Sans Typewriter" panose="020B0509030504030204" pitchFamily="49" charset="0"/>
              </a:rPr>
              <a:t>"order“ </a:t>
            </a:r>
            <a:r>
              <a:rPr lang="en-US" dirty="0">
                <a:solidFill>
                  <a:srgbClr val="505050"/>
                </a:solidFill>
                <a:latin typeface="Lucida Sans Typewriter" panose="020B0509030504030204" pitchFamily="49" charset="0"/>
              </a:rPr>
              <a:t>: </a:t>
            </a:r>
            <a:r>
              <a:rPr lang="en-US" dirty="0">
                <a:solidFill>
                  <a:srgbClr val="002050">
                    <a:lumMod val="75000"/>
                    <a:lumOff val="25000"/>
                  </a:srgbClr>
                </a:solidFill>
                <a:latin typeface="Lucida Sans Typewriter" panose="020B0509030504030204" pitchFamily="49" charset="0"/>
              </a:rPr>
              <a:t>"ascending"</a:t>
            </a:r>
          </a:p>
          <a:p>
            <a:pPr defTabSz="932742"/>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  </a:t>
            </a:r>
          </a:p>
          <a:p>
            <a:pPr defTabSz="932742"/>
            <a:r>
              <a:rPr lang="en-US" dirty="0">
                <a:solidFill>
                  <a:srgbClr val="D83B01">
                    <a:lumMod val="75000"/>
                  </a:srgbClr>
                </a:solidFill>
                <a:latin typeface="Lucida Sans Typewriter" panose="020B0509030504030204" pitchFamily="49" charset="0"/>
              </a:rPr>
              <a:t>                    "path“ </a:t>
            </a:r>
            <a:r>
              <a:rPr lang="en-US" dirty="0">
                <a:solidFill>
                  <a:srgbClr val="505050"/>
                </a:solidFill>
                <a:latin typeface="Lucida Sans Typewriter" panose="020B0509030504030204" pitchFamily="49" charset="0"/>
              </a:rPr>
              <a:t>: </a:t>
            </a:r>
            <a:r>
              <a:rPr lang="en-US" dirty="0">
                <a:solidFill>
                  <a:srgbClr val="002050">
                    <a:lumMod val="75000"/>
                    <a:lumOff val="25000"/>
                  </a:srgbClr>
                </a:solidFill>
                <a:latin typeface="Lucida Sans Typewriter" panose="020B0509030504030204" pitchFamily="49" charset="0"/>
              </a:rPr>
              <a:t>"/age"</a:t>
            </a:r>
            <a:r>
              <a:rPr lang="en-US" dirty="0">
                <a:solidFill>
                  <a:srgbClr val="505050"/>
                </a:solidFill>
                <a:latin typeface="Lucida Sans Typewriter" panose="020B0509030504030204" pitchFamily="49" charset="0"/>
              </a:rPr>
              <a:t>,</a:t>
            </a:r>
          </a:p>
          <a:p>
            <a:pPr defTabSz="932742"/>
            <a:r>
              <a:rPr lang="en-US" dirty="0">
                <a:solidFill>
                  <a:srgbClr val="505050"/>
                </a:solidFill>
                <a:latin typeface="Lucida Sans Typewriter" panose="020B0509030504030204" pitchFamily="49" charset="0"/>
              </a:rPr>
              <a:t>                    </a:t>
            </a:r>
            <a:r>
              <a:rPr lang="en-US" dirty="0">
                <a:solidFill>
                  <a:srgbClr val="D83B01">
                    <a:lumMod val="75000"/>
                  </a:srgbClr>
                </a:solidFill>
                <a:latin typeface="Lucida Sans Typewriter" panose="020B0509030504030204" pitchFamily="49" charset="0"/>
              </a:rPr>
              <a:t>"order“ </a:t>
            </a:r>
            <a:r>
              <a:rPr lang="en-US" dirty="0">
                <a:solidFill>
                  <a:srgbClr val="505050"/>
                </a:solidFill>
                <a:latin typeface="Lucida Sans Typewriter" panose="020B0509030504030204" pitchFamily="49" charset="0"/>
              </a:rPr>
              <a:t>: </a:t>
            </a:r>
            <a:r>
              <a:rPr lang="en-US" dirty="0">
                <a:solidFill>
                  <a:srgbClr val="002050">
                    <a:lumMod val="75000"/>
                    <a:lumOff val="25000"/>
                  </a:srgbClr>
                </a:solidFill>
                <a:latin typeface="Lucida Sans Typewriter" panose="020B0509030504030204" pitchFamily="49" charset="0"/>
              </a:rPr>
              <a:t>"descending"</a:t>
            </a:r>
          </a:p>
          <a:p>
            <a:pPr defTabSz="932742"/>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a:t>
            </a:r>
          </a:p>
          <a:p>
            <a:pPr defTabSz="932742"/>
            <a:r>
              <a:rPr lang="en-US" dirty="0">
                <a:solidFill>
                  <a:srgbClr val="505050"/>
                </a:solidFill>
                <a:latin typeface="Lucida Sans Typewriter" panose="020B0509030504030204" pitchFamily="49" charset="0"/>
              </a:rPr>
              <a:t>    }</a:t>
            </a:r>
          </a:p>
        </p:txBody>
      </p:sp>
    </p:spTree>
    <p:extLst>
      <p:ext uri="{BB962C8B-B14F-4D97-AF65-F5344CB8AC3E}">
        <p14:creationId xmlns:p14="http://schemas.microsoft.com/office/powerpoint/2010/main" val="3515703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Request Units (RU) and monitoring RU consumption</a:t>
            </a:r>
          </a:p>
          <a:p>
            <a:r>
              <a:rPr lang="en-US" dirty="0"/>
              <a:t>Understand reserved capacity</a:t>
            </a:r>
          </a:p>
          <a:p>
            <a:r>
              <a:rPr lang="en-US" dirty="0"/>
              <a:t>Understand the pricing</a:t>
            </a:r>
          </a:p>
          <a:p>
            <a:r>
              <a:rPr lang="en-US" dirty="0"/>
              <a:t>Learn how to run capacity calculator</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11F32-116D-432A-9058-0D2B2D7D6BED}"/>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Modifying Index Policy</a:t>
            </a:r>
          </a:p>
        </p:txBody>
      </p:sp>
      <p:graphicFrame>
        <p:nvGraphicFramePr>
          <p:cNvPr id="5" name="Content Placeholder 2">
            <a:extLst>
              <a:ext uri="{FF2B5EF4-FFF2-40B4-BE49-F238E27FC236}">
                <a16:creationId xmlns:a16="http://schemas.microsoft.com/office/drawing/2014/main" id="{8B135A3A-1039-4D3A-BF33-08974F0E97AA}"/>
              </a:ext>
            </a:extLst>
          </p:cNvPr>
          <p:cNvGraphicFramePr>
            <a:graphicFrameLocks noGrp="1"/>
          </p:cNvGraphicFramePr>
          <p:nvPr>
            <p:ph sz="quarter" idx="13"/>
            <p:extLst>
              <p:ext uri="{D42A27DB-BD31-4B8C-83A1-F6EECF244321}">
                <p14:modId xmlns:p14="http://schemas.microsoft.com/office/powerpoint/2010/main" val="390386249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941153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655637" y="630237"/>
            <a:ext cx="4352926" cy="2493962"/>
          </a:xfrm>
          <a:prstGeom prst="rect">
            <a:avLst/>
          </a:prstGeom>
          <a:ln>
            <a:noFill/>
          </a:ln>
        </p:spPr>
        <p:txBody>
          <a:bodyPr wrap="square" anchor="ctr">
            <a:normAutofit/>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320" y="3584448"/>
            <a:ext cx="4352925" cy="2643188"/>
          </a:xfrm>
          <a:prstGeom prst="rect">
            <a:avLst/>
          </a:prstGeom>
        </p:spPr>
        <p:txBody>
          <a:bodyPr>
            <a:normAutofit/>
          </a:bodyPr>
          <a:lstStyle/>
          <a:p>
            <a:r>
              <a:rPr lang="en-US" dirty="0"/>
              <a:t>Viewing&amp; Modifying Index Policies using Azure Portal-Data Explorer</a:t>
            </a:r>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5625" r="-2" b="5624"/>
          <a:stretch/>
        </p:blipFill>
        <p:spPr>
          <a:xfrm>
            <a:off x="5334000" y="10"/>
            <a:ext cx="6858000" cy="6857990"/>
          </a:xfrm>
          <a:prstGeom prst="rect">
            <a:avLst/>
          </a:prstGeom>
          <a:noFill/>
        </p:spPr>
      </p:pic>
    </p:spTree>
    <p:custDataLst>
      <p:tags r:id="rId1"/>
    </p:custDataLst>
    <p:extLst>
      <p:ext uri="{BB962C8B-B14F-4D97-AF65-F5344CB8AC3E}">
        <p14:creationId xmlns:p14="http://schemas.microsoft.com/office/powerpoint/2010/main" val="471539456"/>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Exploring indexing policies in Visual Studio</a:t>
            </a:r>
          </a:p>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
        <p:nvSpPr>
          <p:cNvPr id="8" name="Title 2">
            <a:extLst>
              <a:ext uri="{FF2B5EF4-FFF2-40B4-BE49-F238E27FC236}">
                <a16:creationId xmlns:a16="http://schemas.microsoft.com/office/drawing/2014/main" id="{ED85160D-56EA-49D1-8F0F-D1D0577A1508}"/>
              </a:ext>
            </a:extLst>
          </p:cNvPr>
          <p:cNvSpPr>
            <a:spLocks noGrp="1"/>
          </p:cNvSpPr>
          <p:nvPr>
            <p:ph type="title"/>
          </p:nvPr>
        </p:nvSpPr>
        <p:spPr>
          <a:xfrm>
            <a:off x="655637" y="630237"/>
            <a:ext cx="4352926" cy="2493962"/>
          </a:xfrm>
          <a:prstGeom prst="rect">
            <a:avLst/>
          </a:prstGeom>
          <a:ln>
            <a:noFill/>
          </a:ln>
        </p:spPr>
        <p:txBody>
          <a:bodyPr wrap="square" anchor="ctr">
            <a:normAutofit/>
          </a:bodyPr>
          <a:lstStyle/>
          <a:p>
            <a:r>
              <a:rPr lang="en-US" dirty="0"/>
              <a:t>Explore Index Policies</a:t>
            </a:r>
          </a:p>
        </p:txBody>
      </p:sp>
    </p:spTree>
    <p:custDataLst>
      <p:tags r:id="rId1"/>
    </p:custDataLst>
    <p:extLst>
      <p:ext uri="{BB962C8B-B14F-4D97-AF65-F5344CB8AC3E}">
        <p14:creationId xmlns:p14="http://schemas.microsoft.com/office/powerpoint/2010/main" val="2646513380"/>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798230102"/>
              </p:ext>
            </p:extLst>
          </p:nvPr>
        </p:nvGraphicFramePr>
        <p:xfrm>
          <a:off x="609600" y="1295400"/>
          <a:ext cx="10393362" cy="43227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59793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880690618"/>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6: Security and Compliance</a:t>
            </a:r>
          </a:p>
        </p:txBody>
      </p:sp>
    </p:spTree>
    <p:extLst>
      <p:ext uri="{BB962C8B-B14F-4D97-AF65-F5344CB8AC3E}">
        <p14:creationId xmlns:p14="http://schemas.microsoft.com/office/powerpoint/2010/main" val="15204637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how to secure your database</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418979536"/>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endParaRPr lang="en-US"/>
          </a:p>
        </p:txBody>
      </p:sp>
    </p:spTree>
    <p:extLst>
      <p:ext uri="{BB962C8B-B14F-4D97-AF65-F5344CB8AC3E}">
        <p14:creationId xmlns:p14="http://schemas.microsoft.com/office/powerpoint/2010/main" val="13091152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185982150"/>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232471753"/>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a:prstGeom prst="rect">
            <a:avLst/>
          </a:prstGeom>
          <a:solidFill>
            <a:schemeClr val="bg1"/>
          </a:solidFill>
          <a:ln>
            <a:noFill/>
          </a:ln>
        </p:spPr>
        <p:txBody>
          <a:bodyPr vert="horz" wrap="square" lIns="0" tIns="0" rIns="0" bIns="0" rtlCol="0" anchor="t">
            <a:normAutofit/>
          </a:bodyPr>
          <a:lstStyle/>
          <a:p>
            <a:r>
              <a:rPr lang="en-US" b="0" kern="1200" cap="none" spc="-50" baseline="0">
                <a:ln w="3175">
                  <a:noFill/>
                </a:ln>
                <a:effectLst/>
                <a:latin typeface="+mj-lt"/>
                <a:ea typeface="+mn-ea"/>
                <a:cs typeface="Segoe UI" pitchFamily="34" charset="0"/>
              </a:rPr>
              <a:t>Request Units (RUs)</a:t>
            </a:r>
          </a:p>
        </p:txBody>
      </p:sp>
      <p:graphicFrame>
        <p:nvGraphicFramePr>
          <p:cNvPr id="7" name="TextBox 2">
            <a:extLst>
              <a:ext uri="{FF2B5EF4-FFF2-40B4-BE49-F238E27FC236}">
                <a16:creationId xmlns:a16="http://schemas.microsoft.com/office/drawing/2014/main" id="{39E79F8B-A78E-418B-BF6F-175DEE0AD9D9}"/>
              </a:ext>
            </a:extLst>
          </p:cNvPr>
          <p:cNvGraphicFramePr/>
          <p:nvPr>
            <p:extLst>
              <p:ext uri="{D42A27DB-BD31-4B8C-83A1-F6EECF244321}">
                <p14:modId xmlns:p14="http://schemas.microsoft.com/office/powerpoint/2010/main" val="85668639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52700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22379813"/>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5240562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7: Migration</a:t>
            </a:r>
          </a:p>
        </p:txBody>
      </p:sp>
    </p:spTree>
    <p:extLst>
      <p:ext uri="{BB962C8B-B14F-4D97-AF65-F5344CB8AC3E}">
        <p14:creationId xmlns:p14="http://schemas.microsoft.com/office/powerpoint/2010/main" val="34710040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migration steps</a:t>
            </a:r>
          </a:p>
          <a:p>
            <a:r>
              <a:rPr lang="en-US" dirty="0"/>
              <a:t>Learn migration tools for SQL API</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4115121909"/>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endParaRPr lang="en-US"/>
          </a:p>
        </p:txBody>
      </p:sp>
    </p:spTree>
    <p:extLst>
      <p:ext uri="{BB962C8B-B14F-4D97-AF65-F5344CB8AC3E}">
        <p14:creationId xmlns:p14="http://schemas.microsoft.com/office/powerpoint/2010/main" val="39207922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54104108"/>
      </p:ext>
    </p:extLst>
  </p:cSld>
  <p:clrMapOvr>
    <a:masterClrMapping/>
  </p:clrMapOvr>
  <p:transition spd="slow"/>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18365308"/>
      </p:ext>
    </p:extLst>
  </p:cSld>
  <p:clrMapOvr>
    <a:masterClrMapping/>
  </p:clrMapOvr>
  <p:transition spd="slow"/>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665790311"/>
      </p:ext>
    </p:extLst>
  </p:cSld>
  <p:clrMapOvr>
    <a:masterClrMapping/>
  </p:clrMapOvr>
  <p:transition spd="slow"/>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069032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D1970-A94F-45E4-89D5-6C74E05174AF}"/>
              </a:ext>
            </a:extLst>
          </p:cNvPr>
          <p:cNvSpPr>
            <a:spLocks noGrp="1"/>
          </p:cNvSpPr>
          <p:nvPr>
            <p:ph type="title"/>
          </p:nvPr>
        </p:nvSpPr>
        <p:spPr>
          <a:xfrm>
            <a:off x="655638" y="320040"/>
            <a:ext cx="10880725" cy="461665"/>
          </a:xfrm>
          <a:prstGeom prst="rect">
            <a:avLst/>
          </a:prstGeom>
          <a:ln>
            <a:noFill/>
          </a:ln>
        </p:spPr>
        <p:txBody>
          <a:bodyPr wrap="square" anchor="t">
            <a:normAutofit/>
          </a:bodyPr>
          <a:lstStyle/>
          <a:p>
            <a:r>
              <a:rPr lang="en-US" dirty="0"/>
              <a:t>Monitoring Request Units</a:t>
            </a:r>
          </a:p>
        </p:txBody>
      </p:sp>
      <p:sp>
        <p:nvSpPr>
          <p:cNvPr id="4" name="Content Placeholder 3">
            <a:extLst>
              <a:ext uri="{FF2B5EF4-FFF2-40B4-BE49-F238E27FC236}">
                <a16:creationId xmlns:a16="http://schemas.microsoft.com/office/drawing/2014/main" id="{0BBA3922-43E6-4A7F-A0D5-37F33EDD9462}"/>
              </a:ext>
            </a:extLst>
          </p:cNvPr>
          <p:cNvSpPr>
            <a:spLocks noGrp="1"/>
          </p:cNvSpPr>
          <p:nvPr>
            <p:ph sz="quarter" idx="13"/>
          </p:nvPr>
        </p:nvSpPr>
        <p:spPr>
          <a:xfrm>
            <a:off x="655638" y="1408113"/>
            <a:ext cx="5284787" cy="4819650"/>
          </a:xfrm>
          <a:prstGeom prst="rect">
            <a:avLst/>
          </a:prstGeom>
        </p:spPr>
        <p:txBody>
          <a:bodyPr>
            <a:normAutofit/>
          </a:bodyPr>
          <a:lstStyle/>
          <a:p>
            <a:pPr marL="342900" indent="-342900">
              <a:buFont typeface="Arial" panose="020B0604020202020204" pitchFamily="34" charset="0"/>
              <a:buChar char="•"/>
            </a:pPr>
            <a:r>
              <a:rPr lang="en-US" dirty="0"/>
              <a:t>Azure Portal metrics at account and collection level</a:t>
            </a:r>
          </a:p>
          <a:p>
            <a:pPr marL="342900" indent="-342900">
              <a:buFont typeface="Arial" panose="020B0604020202020204" pitchFamily="34" charset="0"/>
              <a:buChar char="•"/>
            </a:pPr>
            <a:r>
              <a:rPr lang="en-US" dirty="0"/>
              <a:t>Displays average RU/s over a specified time-span</a:t>
            </a:r>
          </a:p>
          <a:p>
            <a:pPr marL="0" indent="0">
              <a:buNone/>
            </a:pPr>
            <a:endParaRPr lang="en-US" dirty="0"/>
          </a:p>
        </p:txBody>
      </p:sp>
      <p:pic>
        <p:nvPicPr>
          <p:cNvPr id="5" name="Picture 4">
            <a:extLst>
              <a:ext uri="{FF2B5EF4-FFF2-40B4-BE49-F238E27FC236}">
                <a16:creationId xmlns:a16="http://schemas.microsoft.com/office/drawing/2014/main" id="{EB0130B1-7EA3-4033-A436-3734A4B567CD}"/>
              </a:ext>
            </a:extLst>
          </p:cNvPr>
          <p:cNvPicPr>
            <a:picLocks noChangeAspect="1"/>
          </p:cNvPicPr>
          <p:nvPr/>
        </p:nvPicPr>
        <p:blipFill>
          <a:blip r:embed="rId3"/>
          <a:stretch>
            <a:fillRect/>
          </a:stretch>
        </p:blipFill>
        <p:spPr>
          <a:xfrm>
            <a:off x="5442358" y="2073959"/>
            <a:ext cx="6094003" cy="4022041"/>
          </a:xfrm>
          <a:prstGeom prst="rect">
            <a:avLst/>
          </a:prstGeom>
          <a:noFill/>
        </p:spPr>
      </p:pic>
    </p:spTree>
    <p:extLst>
      <p:ext uri="{BB962C8B-B14F-4D97-AF65-F5344CB8AC3E}">
        <p14:creationId xmlns:p14="http://schemas.microsoft.com/office/powerpoint/2010/main" val="980135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776AE-D54B-4BA7-88F6-DE73B0DC450E}"/>
              </a:ext>
            </a:extLst>
          </p:cNvPr>
          <p:cNvSpPr>
            <a:spLocks noGrp="1"/>
          </p:cNvSpPr>
          <p:nvPr>
            <p:ph type="title"/>
          </p:nvPr>
        </p:nvSpPr>
        <p:spPr>
          <a:xfrm>
            <a:off x="655638" y="320040"/>
            <a:ext cx="10880725" cy="461665"/>
          </a:xfrm>
          <a:prstGeom prst="rect">
            <a:avLst/>
          </a:prstGeom>
          <a:solidFill>
            <a:schemeClr val="bg1"/>
          </a:solidFill>
          <a:ln>
            <a:noFill/>
          </a:ln>
        </p:spPr>
        <p:txBody>
          <a:bodyPr vert="horz" wrap="square" lIns="0" tIns="0" rIns="0" bIns="0" rtlCol="0" anchor="t">
            <a:normAutofit/>
          </a:bodyPr>
          <a:lstStyle/>
          <a:p>
            <a:r>
              <a:rPr lang="en-US" b="0" kern="1200" cap="none" spc="-50" baseline="0">
                <a:ln w="3175">
                  <a:noFill/>
                </a:ln>
                <a:effectLst/>
              </a:rPr>
              <a:t>Request Units (Rus) Billing</a:t>
            </a:r>
          </a:p>
        </p:txBody>
      </p:sp>
      <p:graphicFrame>
        <p:nvGraphicFramePr>
          <p:cNvPr id="10" name="TextBox 2">
            <a:extLst>
              <a:ext uri="{FF2B5EF4-FFF2-40B4-BE49-F238E27FC236}">
                <a16:creationId xmlns:a16="http://schemas.microsoft.com/office/drawing/2014/main" id="{B65451D2-D13F-46F0-A559-1F229953369D}"/>
              </a:ext>
            </a:extLst>
          </p:cNvPr>
          <p:cNvGraphicFramePr/>
          <p:nvPr>
            <p:extLst>
              <p:ext uri="{D42A27DB-BD31-4B8C-83A1-F6EECF244321}">
                <p14:modId xmlns:p14="http://schemas.microsoft.com/office/powerpoint/2010/main" val="2077423126"/>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91792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8619D-3833-43AB-BC44-4930082D5A90}"/>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Sample RU Calculations</a:t>
            </a:r>
          </a:p>
        </p:txBody>
      </p:sp>
      <p:sp>
        <p:nvSpPr>
          <p:cNvPr id="6" name="Content Placeholder 5">
            <a:extLst>
              <a:ext uri="{FF2B5EF4-FFF2-40B4-BE49-F238E27FC236}">
                <a16:creationId xmlns:a16="http://schemas.microsoft.com/office/drawing/2014/main" id="{BDD210CE-E09B-4DBC-B2FF-F81E557010F8}"/>
              </a:ext>
            </a:extLst>
          </p:cNvPr>
          <p:cNvSpPr>
            <a:spLocks noGrp="1"/>
          </p:cNvSpPr>
          <p:nvPr>
            <p:ph sz="quarter" idx="13"/>
          </p:nvPr>
        </p:nvSpPr>
        <p:spPr/>
        <p:txBody>
          <a:bodyPr/>
          <a:lstStyle/>
          <a:p>
            <a:endParaRPr lang="en-US"/>
          </a:p>
        </p:txBody>
      </p:sp>
      <p:graphicFrame>
        <p:nvGraphicFramePr>
          <p:cNvPr id="8" name="Table 7">
            <a:extLst>
              <a:ext uri="{FF2B5EF4-FFF2-40B4-BE49-F238E27FC236}">
                <a16:creationId xmlns:a16="http://schemas.microsoft.com/office/drawing/2014/main" id="{C560DF16-186A-489B-8B7B-68FAD421DFB9}"/>
              </a:ext>
            </a:extLst>
          </p:cNvPr>
          <p:cNvGraphicFramePr>
            <a:graphicFrameLocks noGrp="1"/>
          </p:cNvGraphicFramePr>
          <p:nvPr>
            <p:extLst>
              <p:ext uri="{D42A27DB-BD31-4B8C-83A1-F6EECF244321}">
                <p14:modId xmlns:p14="http://schemas.microsoft.com/office/powerpoint/2010/main" val="131802065"/>
              </p:ext>
            </p:extLst>
          </p:nvPr>
        </p:nvGraphicFramePr>
        <p:xfrm>
          <a:off x="457200" y="1278569"/>
          <a:ext cx="11506199" cy="5259391"/>
        </p:xfrm>
        <a:graphic>
          <a:graphicData uri="http://schemas.openxmlformats.org/drawingml/2006/table">
            <a:tbl>
              <a:tblPr>
                <a:tableStyleId>{5C22544A-7EE6-4342-B048-85BDC9FD1C3A}</a:tableStyleId>
              </a:tblPr>
              <a:tblGrid>
                <a:gridCol w="1816769">
                  <a:extLst>
                    <a:ext uri="{9D8B030D-6E8A-4147-A177-3AD203B41FA5}">
                      <a16:colId xmlns:a16="http://schemas.microsoft.com/office/drawing/2014/main" val="3897252422"/>
                    </a:ext>
                  </a:extLst>
                </a:gridCol>
                <a:gridCol w="1887281">
                  <a:extLst>
                    <a:ext uri="{9D8B030D-6E8A-4147-A177-3AD203B41FA5}">
                      <a16:colId xmlns:a16="http://schemas.microsoft.com/office/drawing/2014/main" val="708631960"/>
                    </a:ext>
                  </a:extLst>
                </a:gridCol>
                <a:gridCol w="1746256">
                  <a:extLst>
                    <a:ext uri="{9D8B030D-6E8A-4147-A177-3AD203B41FA5}">
                      <a16:colId xmlns:a16="http://schemas.microsoft.com/office/drawing/2014/main" val="3296564489"/>
                    </a:ext>
                  </a:extLst>
                </a:gridCol>
                <a:gridCol w="3482139">
                  <a:extLst>
                    <a:ext uri="{9D8B030D-6E8A-4147-A177-3AD203B41FA5}">
                      <a16:colId xmlns:a16="http://schemas.microsoft.com/office/drawing/2014/main" val="50812748"/>
                    </a:ext>
                  </a:extLst>
                </a:gridCol>
                <a:gridCol w="2573754">
                  <a:extLst>
                    <a:ext uri="{9D8B030D-6E8A-4147-A177-3AD203B41FA5}">
                      <a16:colId xmlns:a16="http://schemas.microsoft.com/office/drawing/2014/main" val="62619425"/>
                    </a:ext>
                  </a:extLst>
                </a:gridCol>
              </a:tblGrid>
              <a:tr h="632221">
                <a:tc>
                  <a:txBody>
                    <a:bodyPr/>
                    <a:lstStyle/>
                    <a:p>
                      <a:pPr algn="ctr" fontAlgn="ctr"/>
                      <a:r>
                        <a:rPr lang="en-US" sz="2400" b="0" u="none" strike="noStrike">
                          <a:effectLst/>
                          <a:latin typeface="+mn-lt"/>
                        </a:rPr>
                        <a:t>Item size</a:t>
                      </a:r>
                      <a:endParaRPr lang="en-US" sz="2400" b="0" i="0" u="none" strike="noStrike">
                        <a:solidFill>
                          <a:srgbClr val="000000"/>
                        </a:solidFill>
                        <a:effectLst/>
                        <a:latin typeface="+mn-lt"/>
                      </a:endParaRPr>
                    </a:p>
                  </a:txBody>
                  <a:tcPr marL="71376" marR="3399" marT="3399"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400" b="0" u="none" strike="noStrike">
                          <a:effectLst/>
                          <a:latin typeface="+mn-lt"/>
                        </a:rPr>
                        <a:t>Reads/s</a:t>
                      </a:r>
                      <a:endParaRPr lang="en-US" sz="2400" b="0" i="0" u="none" strike="noStrike">
                        <a:solidFill>
                          <a:srgbClr val="000000"/>
                        </a:solidFill>
                        <a:effectLst/>
                        <a:latin typeface="+mn-lt"/>
                      </a:endParaRPr>
                    </a:p>
                  </a:txBody>
                  <a:tcPr marL="71376" marR="3399" marT="3399"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400" b="0" u="none" strike="noStrike" dirty="0">
                          <a:effectLst/>
                          <a:latin typeface="+mn-lt"/>
                        </a:rPr>
                        <a:t>Writes/s</a:t>
                      </a:r>
                      <a:endParaRPr lang="en-US" sz="2400" b="0" i="0" u="none" strike="noStrike" dirty="0">
                        <a:solidFill>
                          <a:srgbClr val="000000"/>
                        </a:solidFill>
                        <a:effectLst/>
                        <a:latin typeface="+mn-lt"/>
                      </a:endParaRPr>
                    </a:p>
                  </a:txBody>
                  <a:tcPr marL="71376" marR="3399" marT="3399" marB="0" anchor="ct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400" b="0" i="0" u="none" strike="noStrike">
                          <a:solidFill>
                            <a:srgbClr val="000000"/>
                          </a:solidFill>
                          <a:effectLst/>
                          <a:latin typeface="+mn-lt"/>
                        </a:rPr>
                        <a:t>Calculation</a:t>
                      </a:r>
                    </a:p>
                  </a:txBody>
                  <a:tcPr marL="71376" marR="3399" marT="3399" marB="0" anchor="ct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400" b="0" i="0" u="none" strike="noStrike">
                          <a:solidFill>
                            <a:srgbClr val="000000"/>
                          </a:solidFill>
                          <a:effectLst/>
                          <a:latin typeface="+mn-lt"/>
                        </a:rPr>
                        <a:t>Request Units</a:t>
                      </a:r>
                    </a:p>
                  </a:txBody>
                  <a:tcPr marL="71376" marR="3399" marT="3399"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04850562"/>
                  </a:ext>
                </a:extLst>
              </a:tr>
              <a:tr h="771195">
                <a:tc>
                  <a:txBody>
                    <a:bodyPr/>
                    <a:lstStyle/>
                    <a:p>
                      <a:pPr algn="ctr" fontAlgn="ctr"/>
                      <a:r>
                        <a:rPr lang="en-US" sz="2000" u="none" strike="noStrike">
                          <a:effectLst/>
                          <a:latin typeface="+mj-lt"/>
                        </a:rPr>
                        <a:t>1 KB</a:t>
                      </a:r>
                      <a:endParaRPr lang="en-US" sz="2000" b="0" i="0" u="none" strike="noStrike">
                        <a:solidFill>
                          <a:srgbClr val="000000"/>
                        </a:solidFill>
                        <a:effectLst/>
                        <a:latin typeface="+mj-lt"/>
                      </a:endParaRPr>
                    </a:p>
                  </a:txBody>
                  <a:tcPr marL="71376" marR="3399" marT="3399"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a:effectLst/>
                          <a:latin typeface="+mj-lt"/>
                        </a:rPr>
                        <a:t>500</a:t>
                      </a:r>
                      <a:endParaRPr lang="en-US" sz="2000" b="0" i="0" u="none" strike="noStrike">
                        <a:solidFill>
                          <a:srgbClr val="000000"/>
                        </a:solidFill>
                        <a:effectLst/>
                        <a:latin typeface="+mj-lt"/>
                      </a:endParaRPr>
                    </a:p>
                  </a:txBody>
                  <a:tcPr marL="71376" marR="3399" marT="3399"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a:effectLst/>
                          <a:latin typeface="+mj-lt"/>
                        </a:rPr>
                        <a:t>100</a:t>
                      </a:r>
                      <a:endParaRPr lang="en-US" sz="2000" b="0" i="0" u="none" strike="noStrike">
                        <a:solidFill>
                          <a:srgbClr val="000000"/>
                        </a:solidFill>
                        <a:effectLst/>
                        <a:latin typeface="+mj-lt"/>
                      </a:endParaRPr>
                    </a:p>
                  </a:txBody>
                  <a:tcPr marL="71376" marR="3399" marT="3399"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de-DE" sz="2000" u="none" strike="noStrike">
                          <a:effectLst/>
                          <a:latin typeface="+mj-lt"/>
                        </a:rPr>
                        <a:t>(500 * 1) + (100 * 5)</a:t>
                      </a:r>
                      <a:endParaRPr lang="de-DE" sz="2000" b="0" i="0" u="none" strike="noStrike">
                        <a:solidFill>
                          <a:srgbClr val="000000"/>
                        </a:solidFill>
                        <a:effectLst/>
                        <a:latin typeface="+mj-lt"/>
                      </a:endParaRPr>
                    </a:p>
                  </a:txBody>
                  <a:tcPr marL="71376" marR="3399" marT="3399"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de-DE" sz="2000" b="0" i="0" u="none" strike="noStrike">
                          <a:solidFill>
                            <a:srgbClr val="000000"/>
                          </a:solidFill>
                          <a:effectLst/>
                          <a:latin typeface="+mj-lt"/>
                        </a:rPr>
                        <a:t>1,000 RU/s</a:t>
                      </a:r>
                    </a:p>
                  </a:txBody>
                  <a:tcPr marL="71376" marR="3399" marT="3399"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867853659"/>
                  </a:ext>
                </a:extLst>
              </a:tr>
              <a:tr h="771195">
                <a:tc>
                  <a:txBody>
                    <a:bodyPr/>
                    <a:lstStyle/>
                    <a:p>
                      <a:pPr algn="ctr" fontAlgn="ctr"/>
                      <a:r>
                        <a:rPr lang="en-US" sz="2000" u="none" strike="noStrike">
                          <a:effectLst/>
                          <a:latin typeface="+mj-lt"/>
                        </a:rPr>
                        <a:t>1 KB</a:t>
                      </a:r>
                      <a:endParaRPr lang="en-US" sz="2000" b="0" i="0" u="none" strike="noStrike">
                        <a:solidFill>
                          <a:srgbClr val="000000"/>
                        </a:solidFill>
                        <a:effectLst/>
                        <a:latin typeface="+mj-lt"/>
                      </a:endParaRPr>
                    </a:p>
                  </a:txBody>
                  <a:tcPr marL="71376" marR="3399" marT="3399"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000" u="none" strike="noStrike">
                          <a:effectLst/>
                          <a:latin typeface="+mj-lt"/>
                        </a:rPr>
                        <a:t>500</a:t>
                      </a:r>
                      <a:endParaRPr lang="en-US" sz="2000" b="0" i="0" u="none" strike="noStrike">
                        <a:solidFill>
                          <a:srgbClr val="000000"/>
                        </a:solidFill>
                        <a:effectLst/>
                        <a:latin typeface="+mj-lt"/>
                      </a:endParaRPr>
                    </a:p>
                  </a:txBody>
                  <a:tcPr marL="71376" marR="3399" marT="3399"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000" u="none" strike="noStrike">
                          <a:effectLst/>
                          <a:latin typeface="+mj-lt"/>
                        </a:rPr>
                        <a:t>500</a:t>
                      </a:r>
                      <a:endParaRPr lang="en-US" sz="2000" b="0" i="0" u="none" strike="noStrike">
                        <a:solidFill>
                          <a:srgbClr val="000000"/>
                        </a:solidFill>
                        <a:effectLst/>
                        <a:latin typeface="+mj-lt"/>
                      </a:endParaRPr>
                    </a:p>
                  </a:txBody>
                  <a:tcPr marL="71376" marR="3399" marT="3399" marB="0" anchor="ct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de-DE" sz="2000" u="none" strike="noStrike">
                          <a:effectLst/>
                          <a:latin typeface="+mj-lt"/>
                        </a:rPr>
                        <a:t>(500 * 1) + (500 * 5)</a:t>
                      </a:r>
                      <a:endParaRPr lang="de-DE" sz="2000" b="0" i="0" u="none" strike="noStrike">
                        <a:solidFill>
                          <a:srgbClr val="000000"/>
                        </a:solidFill>
                        <a:effectLst/>
                        <a:latin typeface="+mj-lt"/>
                      </a:endParaRPr>
                    </a:p>
                  </a:txBody>
                  <a:tcPr marL="71376" marR="3399" marT="3399" marB="0" anchor="ct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de-DE" sz="2000" b="0" i="0" u="none" strike="noStrike">
                          <a:solidFill>
                            <a:srgbClr val="000000"/>
                          </a:solidFill>
                          <a:effectLst/>
                          <a:latin typeface="+mj-lt"/>
                        </a:rPr>
                        <a:t>3,000 RU/s</a:t>
                      </a:r>
                    </a:p>
                  </a:txBody>
                  <a:tcPr marL="71376" marR="3399" marT="3399"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63557523"/>
                  </a:ext>
                </a:extLst>
              </a:tr>
              <a:tr h="771195">
                <a:tc>
                  <a:txBody>
                    <a:bodyPr/>
                    <a:lstStyle/>
                    <a:p>
                      <a:pPr algn="ctr" fontAlgn="ctr"/>
                      <a:r>
                        <a:rPr lang="en-US" sz="2000" u="none" strike="noStrike">
                          <a:effectLst/>
                          <a:latin typeface="+mj-lt"/>
                        </a:rPr>
                        <a:t>4 KB</a:t>
                      </a:r>
                      <a:endParaRPr lang="en-US" sz="2000" b="0" i="0" u="none" strike="noStrike">
                        <a:solidFill>
                          <a:srgbClr val="000000"/>
                        </a:solidFill>
                        <a:effectLst/>
                        <a:latin typeface="+mj-lt"/>
                      </a:endParaRPr>
                    </a:p>
                  </a:txBody>
                  <a:tcPr marL="71376" marR="3399" marT="3399"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a:effectLst/>
                          <a:latin typeface="+mj-lt"/>
                        </a:rPr>
                        <a:t>500</a:t>
                      </a:r>
                      <a:endParaRPr lang="en-US" sz="2000" b="0" i="0" u="none" strike="noStrike">
                        <a:solidFill>
                          <a:srgbClr val="000000"/>
                        </a:solidFill>
                        <a:effectLst/>
                        <a:latin typeface="+mj-lt"/>
                      </a:endParaRPr>
                    </a:p>
                  </a:txBody>
                  <a:tcPr marL="71376" marR="3399" marT="3399"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a:effectLst/>
                          <a:latin typeface="+mj-lt"/>
                        </a:rPr>
                        <a:t>100</a:t>
                      </a:r>
                      <a:endParaRPr lang="en-US" sz="2000" b="0" i="0" u="none" strike="noStrike">
                        <a:solidFill>
                          <a:srgbClr val="000000"/>
                        </a:solidFill>
                        <a:effectLst/>
                        <a:latin typeface="+mj-lt"/>
                      </a:endParaRPr>
                    </a:p>
                  </a:txBody>
                  <a:tcPr marL="71376" marR="3399" marT="3399"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de-DE" sz="2000" u="none" strike="noStrike">
                          <a:effectLst/>
                          <a:latin typeface="+mj-lt"/>
                        </a:rPr>
                        <a:t>(500 * 1.3) + (100 * 7)</a:t>
                      </a:r>
                      <a:endParaRPr lang="de-DE" sz="2000" b="0" i="0" u="none" strike="noStrike">
                        <a:solidFill>
                          <a:srgbClr val="000000"/>
                        </a:solidFill>
                        <a:effectLst/>
                        <a:latin typeface="+mj-lt"/>
                      </a:endParaRPr>
                    </a:p>
                  </a:txBody>
                  <a:tcPr marL="71376" marR="3399" marT="3399"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de-DE" sz="2000" b="0" i="0" u="none" strike="noStrike">
                          <a:solidFill>
                            <a:srgbClr val="000000"/>
                          </a:solidFill>
                          <a:effectLst/>
                          <a:latin typeface="+mj-lt"/>
                        </a:rPr>
                        <a:t>1,350 RU/s</a:t>
                      </a:r>
                    </a:p>
                  </a:txBody>
                  <a:tcPr marL="71376" marR="3399" marT="3399"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530466427"/>
                  </a:ext>
                </a:extLst>
              </a:tr>
              <a:tr h="771195">
                <a:tc>
                  <a:txBody>
                    <a:bodyPr/>
                    <a:lstStyle/>
                    <a:p>
                      <a:pPr algn="ctr" fontAlgn="ctr"/>
                      <a:r>
                        <a:rPr lang="en-US" sz="2000" u="none" strike="noStrike">
                          <a:effectLst/>
                          <a:latin typeface="+mj-lt"/>
                        </a:rPr>
                        <a:t>4 KB</a:t>
                      </a:r>
                      <a:endParaRPr lang="en-US" sz="2000" b="0" i="0" u="none" strike="noStrike">
                        <a:solidFill>
                          <a:srgbClr val="000000"/>
                        </a:solidFill>
                        <a:effectLst/>
                        <a:latin typeface="+mj-lt"/>
                      </a:endParaRPr>
                    </a:p>
                  </a:txBody>
                  <a:tcPr marL="71376" marR="3399" marT="3399"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000" u="none" strike="noStrike">
                          <a:effectLst/>
                          <a:latin typeface="+mj-lt"/>
                        </a:rPr>
                        <a:t>500</a:t>
                      </a:r>
                      <a:endParaRPr lang="en-US" sz="2000" b="0" i="0" u="none" strike="noStrike">
                        <a:solidFill>
                          <a:srgbClr val="000000"/>
                        </a:solidFill>
                        <a:effectLst/>
                        <a:latin typeface="+mj-lt"/>
                      </a:endParaRPr>
                    </a:p>
                  </a:txBody>
                  <a:tcPr marL="71376" marR="3399" marT="3399"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000" u="none" strike="noStrike">
                          <a:effectLst/>
                          <a:latin typeface="+mj-lt"/>
                        </a:rPr>
                        <a:t>500</a:t>
                      </a:r>
                      <a:endParaRPr lang="en-US" sz="2000" b="0" i="0" u="none" strike="noStrike">
                        <a:solidFill>
                          <a:srgbClr val="000000"/>
                        </a:solidFill>
                        <a:effectLst/>
                        <a:latin typeface="+mj-lt"/>
                      </a:endParaRPr>
                    </a:p>
                  </a:txBody>
                  <a:tcPr marL="71376" marR="3399" marT="3399" marB="0" anchor="ct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de-DE" sz="2000" u="none" strike="noStrike">
                          <a:effectLst/>
                          <a:latin typeface="+mj-lt"/>
                        </a:rPr>
                        <a:t>(500 * 1.3) + (500 * 7)</a:t>
                      </a:r>
                      <a:endParaRPr lang="de-DE" sz="2000" b="0" i="0" u="none" strike="noStrike">
                        <a:solidFill>
                          <a:srgbClr val="000000"/>
                        </a:solidFill>
                        <a:effectLst/>
                        <a:latin typeface="+mj-lt"/>
                      </a:endParaRPr>
                    </a:p>
                  </a:txBody>
                  <a:tcPr marL="71376" marR="3399" marT="3399" marB="0" anchor="ct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de-DE" sz="2000" b="0" i="0" u="none" strike="noStrike">
                          <a:solidFill>
                            <a:srgbClr val="000000"/>
                          </a:solidFill>
                          <a:effectLst/>
                          <a:latin typeface="+mj-lt"/>
                        </a:rPr>
                        <a:t>4,150 RU/s</a:t>
                      </a:r>
                    </a:p>
                  </a:txBody>
                  <a:tcPr marL="71376" marR="3399" marT="3399"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9818827"/>
                  </a:ext>
                </a:extLst>
              </a:tr>
              <a:tr h="771195">
                <a:tc>
                  <a:txBody>
                    <a:bodyPr/>
                    <a:lstStyle/>
                    <a:p>
                      <a:pPr algn="ctr" fontAlgn="ctr"/>
                      <a:r>
                        <a:rPr lang="en-US" sz="2000" u="none" strike="noStrike">
                          <a:effectLst/>
                          <a:latin typeface="+mj-lt"/>
                        </a:rPr>
                        <a:t>64 KB</a:t>
                      </a:r>
                      <a:endParaRPr lang="en-US" sz="2000" b="0" i="0" u="none" strike="noStrike">
                        <a:solidFill>
                          <a:srgbClr val="000000"/>
                        </a:solidFill>
                        <a:effectLst/>
                        <a:latin typeface="+mj-lt"/>
                      </a:endParaRPr>
                    </a:p>
                  </a:txBody>
                  <a:tcPr marL="71376" marR="3399" marT="3399"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a:effectLst/>
                          <a:latin typeface="+mj-lt"/>
                        </a:rPr>
                        <a:t>500</a:t>
                      </a:r>
                      <a:endParaRPr lang="en-US" sz="2000" b="0" i="0" u="none" strike="noStrike">
                        <a:solidFill>
                          <a:srgbClr val="000000"/>
                        </a:solidFill>
                        <a:effectLst/>
                        <a:latin typeface="+mj-lt"/>
                      </a:endParaRPr>
                    </a:p>
                  </a:txBody>
                  <a:tcPr marL="71376" marR="3399" marT="3399"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a:effectLst/>
                          <a:latin typeface="+mj-lt"/>
                        </a:rPr>
                        <a:t>100</a:t>
                      </a:r>
                      <a:endParaRPr lang="en-US" sz="2000" b="0" i="0" u="none" strike="noStrike">
                        <a:solidFill>
                          <a:srgbClr val="000000"/>
                        </a:solidFill>
                        <a:effectLst/>
                        <a:latin typeface="+mj-lt"/>
                      </a:endParaRPr>
                    </a:p>
                  </a:txBody>
                  <a:tcPr marL="71376" marR="3399" marT="3399"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de-DE" sz="2000" u="none" strike="noStrike">
                          <a:effectLst/>
                          <a:latin typeface="+mj-lt"/>
                        </a:rPr>
                        <a:t>(500 * 10) + (100 * 48)</a:t>
                      </a:r>
                      <a:endParaRPr lang="de-DE" sz="2000" b="0" i="0" u="none" strike="noStrike">
                        <a:solidFill>
                          <a:srgbClr val="000000"/>
                        </a:solidFill>
                        <a:effectLst/>
                        <a:latin typeface="+mj-lt"/>
                      </a:endParaRPr>
                    </a:p>
                  </a:txBody>
                  <a:tcPr marL="71376" marR="3399" marT="3399"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de-DE" sz="2000" b="0" i="0" u="none" strike="noStrike">
                          <a:solidFill>
                            <a:srgbClr val="000000"/>
                          </a:solidFill>
                          <a:effectLst/>
                          <a:latin typeface="+mj-lt"/>
                        </a:rPr>
                        <a:t>9,800 RU/s</a:t>
                      </a:r>
                    </a:p>
                  </a:txBody>
                  <a:tcPr marL="71376" marR="3399" marT="3399"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856344406"/>
                  </a:ext>
                </a:extLst>
              </a:tr>
              <a:tr h="771195">
                <a:tc>
                  <a:txBody>
                    <a:bodyPr/>
                    <a:lstStyle/>
                    <a:p>
                      <a:pPr algn="ctr" fontAlgn="ctr"/>
                      <a:r>
                        <a:rPr lang="en-US" sz="2000" u="none" strike="noStrike">
                          <a:effectLst/>
                          <a:latin typeface="+mj-lt"/>
                        </a:rPr>
                        <a:t>64 KB</a:t>
                      </a:r>
                      <a:endParaRPr lang="en-US" sz="2000" b="0" i="0" u="none" strike="noStrike">
                        <a:solidFill>
                          <a:srgbClr val="000000"/>
                        </a:solidFill>
                        <a:effectLst/>
                        <a:latin typeface="+mj-lt"/>
                      </a:endParaRPr>
                    </a:p>
                  </a:txBody>
                  <a:tcPr marL="71376" marR="3399" marT="3399" marB="0" anchor="ctr">
                    <a:solidFill>
                      <a:schemeClr val="bg1"/>
                    </a:solidFill>
                  </a:tcPr>
                </a:tc>
                <a:tc>
                  <a:txBody>
                    <a:bodyPr/>
                    <a:lstStyle/>
                    <a:p>
                      <a:pPr algn="ctr" fontAlgn="ctr"/>
                      <a:r>
                        <a:rPr lang="en-US" sz="2000" u="none" strike="noStrike">
                          <a:effectLst/>
                          <a:latin typeface="+mj-lt"/>
                        </a:rPr>
                        <a:t>500</a:t>
                      </a:r>
                      <a:endParaRPr lang="en-US" sz="2000" b="0" i="0" u="none" strike="noStrike">
                        <a:solidFill>
                          <a:srgbClr val="000000"/>
                        </a:solidFill>
                        <a:effectLst/>
                        <a:latin typeface="+mj-lt"/>
                      </a:endParaRPr>
                    </a:p>
                  </a:txBody>
                  <a:tcPr marL="71376" marR="3399" marT="3399" marB="0" anchor="ctr">
                    <a:solidFill>
                      <a:schemeClr val="bg1"/>
                    </a:solidFill>
                  </a:tcPr>
                </a:tc>
                <a:tc>
                  <a:txBody>
                    <a:bodyPr/>
                    <a:lstStyle/>
                    <a:p>
                      <a:pPr algn="ctr" fontAlgn="ctr"/>
                      <a:r>
                        <a:rPr lang="en-US" sz="2000" u="none" strike="noStrike">
                          <a:effectLst/>
                          <a:latin typeface="+mj-lt"/>
                        </a:rPr>
                        <a:t>500</a:t>
                      </a:r>
                      <a:endParaRPr lang="en-US" sz="2000" b="0" i="0" u="none" strike="noStrike">
                        <a:solidFill>
                          <a:srgbClr val="000000"/>
                        </a:solidFill>
                        <a:effectLst/>
                        <a:latin typeface="+mj-lt"/>
                      </a:endParaRPr>
                    </a:p>
                  </a:txBody>
                  <a:tcPr marL="71376" marR="3399" marT="3399" marB="0" anchor="ctr">
                    <a:lnR w="12700" cap="flat" cmpd="sng" algn="ctr">
                      <a:noFill/>
                      <a:prstDash val="solid"/>
                      <a:round/>
                      <a:headEnd type="none" w="med" len="med"/>
                      <a:tailEnd type="none" w="med" len="med"/>
                    </a:lnR>
                    <a:solidFill>
                      <a:schemeClr val="bg1"/>
                    </a:solidFill>
                  </a:tcPr>
                </a:tc>
                <a:tc>
                  <a:txBody>
                    <a:bodyPr/>
                    <a:lstStyle/>
                    <a:p>
                      <a:pPr algn="ctr" fontAlgn="ctr"/>
                      <a:r>
                        <a:rPr lang="de-DE" sz="2000" u="none" strike="noStrike">
                          <a:effectLst/>
                          <a:latin typeface="+mj-lt"/>
                        </a:rPr>
                        <a:t>(500 * 10) + (500 * 48)</a:t>
                      </a:r>
                      <a:endParaRPr lang="de-DE" sz="2000" b="0" i="0" u="none" strike="noStrike">
                        <a:solidFill>
                          <a:srgbClr val="000000"/>
                        </a:solidFill>
                        <a:effectLst/>
                        <a:latin typeface="+mj-lt"/>
                      </a:endParaRPr>
                    </a:p>
                  </a:txBody>
                  <a:tcPr marL="71376" marR="3399" marT="3399" marB="0" anchor="ctr">
                    <a:lnL w="12700" cap="flat" cmpd="sng" algn="ctr">
                      <a:noFill/>
                      <a:prstDash val="solid"/>
                      <a:round/>
                      <a:headEnd type="none" w="med" len="med"/>
                      <a:tailEnd type="none" w="med" len="med"/>
                    </a:lnL>
                    <a:solidFill>
                      <a:schemeClr val="bg1"/>
                    </a:solidFill>
                  </a:tcPr>
                </a:tc>
                <a:tc>
                  <a:txBody>
                    <a:bodyPr/>
                    <a:lstStyle/>
                    <a:p>
                      <a:pPr algn="ctr" fontAlgn="ctr"/>
                      <a:r>
                        <a:rPr lang="de-DE" sz="2000" b="0" i="0" u="none" strike="noStrike" dirty="0">
                          <a:solidFill>
                            <a:srgbClr val="000000"/>
                          </a:solidFill>
                          <a:effectLst/>
                          <a:latin typeface="+mj-lt"/>
                        </a:rPr>
                        <a:t>29,000 RU/s</a:t>
                      </a:r>
                    </a:p>
                  </a:txBody>
                  <a:tcPr marL="71376" marR="3399" marT="3399" marB="0" anchor="ctr">
                    <a:solidFill>
                      <a:schemeClr val="bg1"/>
                    </a:solidFill>
                  </a:tcPr>
                </a:tc>
                <a:extLst>
                  <a:ext uri="{0D108BD9-81ED-4DB2-BD59-A6C34878D82A}">
                    <a16:rowId xmlns:a16="http://schemas.microsoft.com/office/drawing/2014/main" val="4122241403"/>
                  </a:ext>
                </a:extLst>
              </a:tr>
            </a:tbl>
          </a:graphicData>
        </a:graphic>
      </p:graphicFrame>
    </p:spTree>
    <p:extLst>
      <p:ext uri="{BB962C8B-B14F-4D97-AF65-F5344CB8AC3E}">
        <p14:creationId xmlns:p14="http://schemas.microsoft.com/office/powerpoint/2010/main" val="3442266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016fa5f4-2597-4ff4-baee-7973b318c746" xsi:nil="true"/>
    <_ip_UnifiedCompliancePolicyUIAction xmlns="http://schemas.microsoft.com/sharepoint/v3" xsi:nil="true"/>
    <_ip_UnifiedCompliancePolicyProperties xmlns="http://schemas.microsoft.com/sharepoint/v3" xsi:nil="true"/>
  </documentManagement>
</p:properties>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ct:contentTypeSchema xmlns:ct="http://schemas.microsoft.com/office/2006/metadata/contentType" xmlns:ma="http://schemas.microsoft.com/office/2006/metadata/properties/metaAttributes" ct:_="" ma:_="" ma:contentTypeName="Document" ma:contentTypeID="0x0101002ECF9E3825CF0647AB192C5F143ADB39" ma:contentTypeVersion="13" ma:contentTypeDescription="Create a new document." ma:contentTypeScope="" ma:versionID="f2287612a8483d434e27031cf6950078">
  <xsd:schema xmlns:xsd="http://www.w3.org/2001/XMLSchema" xmlns:xs="http://www.w3.org/2001/XMLSchema" xmlns:p="http://schemas.microsoft.com/office/2006/metadata/properties" xmlns:ns1="http://schemas.microsoft.com/sharepoint/v3" xmlns:ns2="016fa5f4-2597-4ff4-baee-7973b318c746" xmlns:ns3="76ca6896-fd09-40ed-979c-d2d4eeb0f6f3" targetNamespace="http://schemas.microsoft.com/office/2006/metadata/properties" ma:root="true" ma:fieldsID="bffc36fb709a106e682128b4b1bff23d" ns1:_="" ns2:_="" ns3:_="">
    <xsd:import namespace="http://schemas.microsoft.com/sharepoint/v3"/>
    <xsd:import namespace="016fa5f4-2597-4ff4-baee-7973b318c746"/>
    <xsd:import namespace="76ca6896-fd09-40ed-979c-d2d4eeb0f6f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6fa5f4-2597-4ff4-baee-7973b318c7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ca6896-fd09-40ed-979c-d2d4eeb0f6f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EBCC33FC-94BB-4B1D-A4C6-D2E6A3A4B1FD}">
  <ds:schemaRefs>
    <ds:schemaRef ds:uri="Strauss.PersonalizationDefinition"/>
  </ds:schemaRefs>
</ds:datastoreItem>
</file>

<file path=customXml/itemProps10.xml><?xml version="1.0" encoding="utf-8"?>
<ds:datastoreItem xmlns:ds="http://schemas.openxmlformats.org/officeDocument/2006/customXml" ds:itemID="{12139F82-FEAD-40F5-87FE-244CAEC929CC}">
  <ds:schemaRefs>
    <ds:schemaRef ds:uri="Strauss.PersonalizationDefinition"/>
  </ds:schemaRefs>
</ds:datastoreItem>
</file>

<file path=customXml/itemProps11.xml><?xml version="1.0" encoding="utf-8"?>
<ds:datastoreItem xmlns:ds="http://schemas.openxmlformats.org/officeDocument/2006/customXml" ds:itemID="{7C42A160-080E-4178-8FDB-B5422D4D778A}">
  <ds:schemaRefs>
    <ds:schemaRef ds:uri="Strauss.PersonalizationDefinition"/>
  </ds:schemaRefs>
</ds:datastoreItem>
</file>

<file path=customXml/itemProps12.xml><?xml version="1.0" encoding="utf-8"?>
<ds:datastoreItem xmlns:ds="http://schemas.openxmlformats.org/officeDocument/2006/customXml" ds:itemID="{75C05EC8-D295-4080-807A-6EA8C339A657}">
  <ds:schemaRefs>
    <ds:schemaRef ds:uri="Strauss.PersonalizationDefinition"/>
  </ds:schemaRefs>
</ds:datastoreItem>
</file>

<file path=customXml/itemProps13.xml><?xml version="1.0" encoding="utf-8"?>
<ds:datastoreItem xmlns:ds="http://schemas.openxmlformats.org/officeDocument/2006/customXml" ds:itemID="{1B65D760-CEAB-4E24-B0BE-755F3329E48D}">
  <ds:schemaRefs>
    <ds:schemaRef ds:uri="Strauss.PersonalizationDefinition"/>
  </ds:schemaRefs>
</ds:datastoreItem>
</file>

<file path=customXml/itemProps14.xml><?xml version="1.0" encoding="utf-8"?>
<ds:datastoreItem xmlns:ds="http://schemas.openxmlformats.org/officeDocument/2006/customXml" ds:itemID="{EF0FCEC8-A378-4DF9-8D3C-A87452B4CDD8}">
  <ds:schemaRefs>
    <ds:schemaRef ds:uri="Strauss.PersonalizationDefinition"/>
  </ds:schemaRefs>
</ds:datastoreItem>
</file>

<file path=customXml/itemProps15.xml><?xml version="1.0" encoding="utf-8"?>
<ds:datastoreItem xmlns:ds="http://schemas.openxmlformats.org/officeDocument/2006/customXml" ds:itemID="{9CFE9A22-C3CB-45B7-B365-FE59FD6BB66B}">
  <ds:schemaRefs>
    <ds:schemaRef ds:uri="Strauss.PersonalizationDefinition"/>
  </ds:schemaRefs>
</ds:datastoreItem>
</file>

<file path=customXml/itemProps16.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17.xml><?xml version="1.0" encoding="utf-8"?>
<ds:datastoreItem xmlns:ds="http://schemas.openxmlformats.org/officeDocument/2006/customXml" ds:itemID="{CD086AF5-CCD3-41C8-B98A-2B159789D38E}">
  <ds:schemaRefs>
    <ds:schemaRef ds:uri="Strauss.PersonalizationDefinition"/>
  </ds:schemaRefs>
</ds:datastoreItem>
</file>

<file path=customXml/itemProps2.xml><?xml version="1.0" encoding="utf-8"?>
<ds:datastoreItem xmlns:ds="http://schemas.openxmlformats.org/officeDocument/2006/customXml" ds:itemID="{B362C1BF-4186-40E0-8A26-E7CDAC3FE693}">
  <ds:schemaRefs>
    <ds:schemaRef ds:uri="Strauss.PersonalizationDefinition"/>
  </ds:schemaRefs>
</ds:datastoreItem>
</file>

<file path=customXml/itemProps3.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016fa5f4-2597-4ff4-baee-7973b318c746"/>
    <ds:schemaRef ds:uri="http://schemas.microsoft.com/sharepoint/v3"/>
  </ds:schemaRefs>
</ds:datastoreItem>
</file>

<file path=customXml/itemProps4.xml><?xml version="1.0" encoding="utf-8"?>
<ds:datastoreItem xmlns:ds="http://schemas.openxmlformats.org/officeDocument/2006/customXml" ds:itemID="{CF43066C-A0FB-492E-AD47-2A85FD56DF11}">
  <ds:schemaRefs>
    <ds:schemaRef ds:uri="Strauss.PersonalizationDefinition"/>
  </ds:schemaRefs>
</ds:datastoreItem>
</file>

<file path=customXml/itemProps5.xml><?xml version="1.0" encoding="utf-8"?>
<ds:datastoreItem xmlns:ds="http://schemas.openxmlformats.org/officeDocument/2006/customXml" ds:itemID="{9EEC7FED-AC7D-45C9-8F29-C2C8A7233C3D}">
  <ds:schemaRefs>
    <ds:schemaRef ds:uri="Strauss.PersonalizationDefinition"/>
  </ds:schemaRefs>
</ds:datastoreItem>
</file>

<file path=customXml/itemProps6.xml><?xml version="1.0" encoding="utf-8"?>
<ds:datastoreItem xmlns:ds="http://schemas.openxmlformats.org/officeDocument/2006/customXml" ds:itemID="{11E2204E-7A65-46D0-AB35-6AD2C4EE6A3E}">
  <ds:schemaRefs>
    <ds:schemaRef ds:uri="Strauss.PersonalizationDefinition"/>
  </ds:schemaRefs>
</ds:datastoreItem>
</file>

<file path=customXml/itemProps7.xml><?xml version="1.0" encoding="utf-8"?>
<ds:datastoreItem xmlns:ds="http://schemas.openxmlformats.org/officeDocument/2006/customXml" ds:itemID="{4093BC41-AEC7-47AD-9309-ACF22606EC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6fa5f4-2597-4ff4-baee-7973b318c746"/>
    <ds:schemaRef ds:uri="76ca6896-fd09-40ed-979c-d2d4eeb0f6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6A05B494-545A-4AB8-93B3-A34FAFBE0C2D}">
  <ds:schemaRefs>
    <ds:schemaRef ds:uri="Strauss.PersonalizationDefinition"/>
  </ds:schemaRefs>
</ds:datastoreItem>
</file>

<file path=customXml/itemProps9.xml><?xml version="1.0" encoding="utf-8"?>
<ds:datastoreItem xmlns:ds="http://schemas.openxmlformats.org/officeDocument/2006/customXml" ds:itemID="{BBD70CE2-A390-4D93-8C41-4CA1732F036F}">
  <ds:schemaRefs>
    <ds:schemaRef ds:uri="Strauss.PersonalizationDefinition"/>
  </ds:schemaRefs>
</ds:datastoreItem>
</file>

<file path=docProps/app.xml><?xml version="1.0" encoding="utf-8"?>
<Properties xmlns="http://schemas.openxmlformats.org/officeDocument/2006/extended-properties" xmlns:vt="http://schemas.openxmlformats.org/officeDocument/2006/docPropsVTypes">
  <TotalTime>8178</TotalTime>
  <Words>4175</Words>
  <Application>Microsoft Office PowerPoint</Application>
  <PresentationFormat>Widescreen</PresentationFormat>
  <Paragraphs>585</Paragraphs>
  <Slides>69</Slides>
  <Notes>47</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69</vt:i4>
      </vt:variant>
    </vt:vector>
  </HeadingPairs>
  <TitlesOfParts>
    <vt:vector size="79" baseType="lpstr">
      <vt:lpstr>Arial</vt:lpstr>
      <vt:lpstr>Calibri Light</vt:lpstr>
      <vt:lpstr>Comic Sans MS</vt:lpstr>
      <vt:lpstr>Consolas</vt:lpstr>
      <vt:lpstr>Lucida Sans Typewriter</vt:lpstr>
      <vt:lpstr>Segoe UI</vt:lpstr>
      <vt:lpstr>Segoe UI Light</vt:lpstr>
      <vt:lpstr>Segoe UI Semibold</vt:lpstr>
      <vt:lpstr>Wingdings</vt:lpstr>
      <vt:lpstr>Dark Blue</vt:lpstr>
      <vt:lpstr>Azure Cosmos DB Administration</vt:lpstr>
      <vt:lpstr>PowerPoint Presentation</vt:lpstr>
      <vt:lpstr>Learning Units covered in this Module</vt:lpstr>
      <vt:lpstr>Lesson 1: Throughput</vt:lpstr>
      <vt:lpstr>Objectives</vt:lpstr>
      <vt:lpstr>Request Units (RUs)</vt:lpstr>
      <vt:lpstr>Monitoring Request Units</vt:lpstr>
      <vt:lpstr>Request Units (Rus) Billing</vt:lpstr>
      <vt:lpstr>Sample RU Calculations</vt:lpstr>
      <vt:lpstr>Monitor RU Consumption</vt:lpstr>
      <vt:lpstr>Reserved Capacity</vt:lpstr>
      <vt:lpstr>Pricing Model </vt:lpstr>
      <vt:lpstr>Capacity Calculator </vt:lpstr>
      <vt:lpstr>Demonstration</vt:lpstr>
      <vt:lpstr>View Request Charges</vt:lpstr>
      <vt:lpstr>Knowledge Check</vt:lpstr>
      <vt:lpstr>Questions?</vt:lpstr>
      <vt:lpstr>Lesson 2: Autopilot</vt:lpstr>
      <vt:lpstr>Objectives</vt:lpstr>
      <vt:lpstr>PowerPoint Presentation</vt:lpstr>
      <vt:lpstr>Demonstration</vt:lpstr>
      <vt:lpstr>PowerPoint Presentation</vt:lpstr>
      <vt:lpstr>Questions?</vt:lpstr>
      <vt:lpstr>Knowledge Check</vt:lpstr>
      <vt:lpstr>Lesson 3: Partitioning</vt:lpstr>
      <vt:lpstr>Objectives</vt:lpstr>
      <vt:lpstr>PowerPoint Presentation</vt:lpstr>
      <vt:lpstr>Demonstration</vt:lpstr>
      <vt:lpstr>PowerPoint Presentation</vt:lpstr>
      <vt:lpstr>Questions?</vt:lpstr>
      <vt:lpstr>Knowledge Check</vt:lpstr>
      <vt:lpstr>Lesson 4: Global Distribution and Consistency</vt:lpstr>
      <vt:lpstr>Objectives</vt:lpstr>
      <vt:lpstr>PowerPoint Presentation</vt:lpstr>
      <vt:lpstr>Demonstration</vt:lpstr>
      <vt:lpstr>PowerPoint Presentation</vt:lpstr>
      <vt:lpstr>Questions?</vt:lpstr>
      <vt:lpstr>Knowledge Check</vt:lpstr>
      <vt:lpstr>Lesson 5: Indexing</vt:lpstr>
      <vt:lpstr>Objectives</vt:lpstr>
      <vt:lpstr>Schema-agnostic, automatic indexing</vt:lpstr>
      <vt:lpstr>Indexing – Under the Hood</vt:lpstr>
      <vt:lpstr>Inverted Index</vt:lpstr>
      <vt:lpstr>Indexing Modes </vt:lpstr>
      <vt:lpstr>Index Policies - Tuning Indices</vt:lpstr>
      <vt:lpstr>Simple Indexing Policy</vt:lpstr>
      <vt:lpstr>Index Paths</vt:lpstr>
      <vt:lpstr>Including &amp; Excluding Property Paths</vt:lpstr>
      <vt:lpstr>Composite Indexes</vt:lpstr>
      <vt:lpstr>Modifying Index Policy</vt:lpstr>
      <vt:lpstr>Demonstration</vt:lpstr>
      <vt:lpstr>Explore Index Policies</vt:lpstr>
      <vt:lpstr>Knowledge Check</vt:lpstr>
      <vt:lpstr>Questions?</vt:lpstr>
      <vt:lpstr>Lesson 6: Security and Compliance</vt:lpstr>
      <vt:lpstr>Objectives</vt:lpstr>
      <vt:lpstr>PowerPoint Presentation</vt:lpstr>
      <vt:lpstr>Demonstration</vt:lpstr>
      <vt:lpstr>PowerPoint Presentation</vt:lpstr>
      <vt:lpstr>Questions?</vt:lpstr>
      <vt:lpstr>Knowledge Check</vt:lpstr>
      <vt:lpstr>Lesson 7: Migration</vt:lpstr>
      <vt:lpstr>Objectives</vt:lpstr>
      <vt:lpstr>PowerPoint Presentation</vt:lpstr>
      <vt:lpstr>Demonstration</vt:lpstr>
      <vt:lpstr>PowerPoint Presentation</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Cosmos DB Administration</dc:title>
  <dc:creator>Diana Gonzalez</dc:creator>
  <cp:lastModifiedBy>Diana Gonzalez</cp:lastModifiedBy>
  <cp:revision>16</cp:revision>
  <dcterms:created xsi:type="dcterms:W3CDTF">2020-02-07T21:33:21Z</dcterms:created>
  <dcterms:modified xsi:type="dcterms:W3CDTF">2021-09-14T18:52:13Z</dcterms:modified>
</cp:coreProperties>
</file>